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drawings/drawing4.xml" ContentType="application/vnd.openxmlformats-officedocument.drawingml.chartshap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slideLayouts/slideLayout10.xml" ContentType="application/vnd.openxmlformats-officedocument.presentationml.slideLayou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Default Extension="xlsx" ContentType="application/vnd.openxmlformats-officedocument.spreadsheetml.sheet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5.xml" ContentType="application/vnd.openxmlformats-officedocument.drawingml.char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rawings/drawing5.xml" ContentType="application/vnd.openxmlformats-officedocument.drawingml.chartshape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rawings/drawing1.xml" ContentType="application/vnd.openxmlformats-officedocument.drawingml.chartshape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8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3"/>
  </p:notesMasterIdLst>
  <p:sldIdLst>
    <p:sldId id="257" r:id="rId2"/>
    <p:sldId id="284" r:id="rId3"/>
    <p:sldId id="303" r:id="rId4"/>
    <p:sldId id="304" r:id="rId5"/>
    <p:sldId id="285" r:id="rId6"/>
    <p:sldId id="312" r:id="rId7"/>
    <p:sldId id="307" r:id="rId8"/>
    <p:sldId id="308" r:id="rId9"/>
    <p:sldId id="296" r:id="rId10"/>
    <p:sldId id="297" r:id="rId11"/>
    <p:sldId id="300" r:id="rId12"/>
    <p:sldId id="268" r:id="rId13"/>
    <p:sldId id="292" r:id="rId14"/>
    <p:sldId id="302" r:id="rId15"/>
    <p:sldId id="311" r:id="rId16"/>
    <p:sldId id="299" r:id="rId17"/>
    <p:sldId id="273" r:id="rId18"/>
    <p:sldId id="288" r:id="rId19"/>
    <p:sldId id="305" r:id="rId20"/>
    <p:sldId id="295" r:id="rId21"/>
    <p:sldId id="283" r:id="rId22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6DBB27"/>
    <a:srgbClr val="E1210D"/>
    <a:srgbClr val="0066FF"/>
    <a:srgbClr val="C8D7A6"/>
    <a:srgbClr val="9966FF"/>
    <a:srgbClr val="009900"/>
    <a:srgbClr val="57951F"/>
    <a:srgbClr val="006600"/>
    <a:srgbClr val="6666FF"/>
    <a:srgbClr val="0033CC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736" autoAdjust="0"/>
    <p:restoredTop sz="99275" autoAdjust="0"/>
  </p:normalViewPr>
  <p:slideViewPr>
    <p:cSldViewPr>
      <p:cViewPr>
        <p:scale>
          <a:sx n="75" d="100"/>
          <a:sy n="75" d="100"/>
        </p:scale>
        <p:origin x="-2664" y="-9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perspective val="30"/>
    </c:view3D>
    <c:plotArea>
      <c:layout>
        <c:manualLayout>
          <c:layoutTarget val="inner"/>
          <c:xMode val="edge"/>
          <c:yMode val="edge"/>
          <c:x val="0.15198764216972888"/>
          <c:y val="1.4448159998437196E-2"/>
          <c:w val="0.84801235783027118"/>
          <c:h val="0.8417851915211898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</c:v>
                </c:pt>
              </c:strCache>
            </c:strRef>
          </c:tx>
          <c:spPr>
            <a:gradFill rotWithShape="1">
              <a:gsLst>
                <a:gs pos="0">
                  <a:schemeClr val="accent6">
                    <a:shade val="51000"/>
                    <a:satMod val="130000"/>
                  </a:schemeClr>
                </a:gs>
                <a:gs pos="80000">
                  <a:schemeClr val="accent6">
                    <a:shade val="93000"/>
                    <a:satMod val="130000"/>
                  </a:schemeClr>
                </a:gs>
                <a:gs pos="100000">
                  <a:schemeClr val="accent6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701.8</c:v>
                </c:pt>
                <c:pt idx="1">
                  <c:v>1795.5</c:v>
                </c:pt>
                <c:pt idx="2">
                  <c:v>1905.9</c:v>
                </c:pt>
                <c:pt idx="3">
                  <c:v>1878.1</c:v>
                </c:pt>
              </c:numCache>
            </c:numRef>
          </c:val>
          <c:shape val="cylinder"/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gradFill>
              <a:gsLst>
                <a:gs pos="0">
                  <a:schemeClr val="accent3">
                    <a:shade val="51000"/>
                    <a:satMod val="130000"/>
                  </a:schemeClr>
                </a:gs>
                <a:gs pos="80000">
                  <a:schemeClr val="accent3">
                    <a:shade val="93000"/>
                    <a:satMod val="130000"/>
                  </a:schemeClr>
                </a:gs>
                <a:gs pos="100000">
                  <a:schemeClr val="accent3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dLbls>
            <c:dLbl>
              <c:idx val="0"/>
              <c:layout>
                <c:manualLayout>
                  <c:x val="0"/>
                  <c:y val="1.7135156923294863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339.8</c:v>
                </c:pt>
                <c:pt idx="1">
                  <c:v>345.1</c:v>
                </c:pt>
                <c:pt idx="2">
                  <c:v>390.7</c:v>
                </c:pt>
                <c:pt idx="3">
                  <c:v>494.3</c:v>
                </c:pt>
              </c:numCache>
            </c:numRef>
          </c:val>
          <c:shape val="cylinder"/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63500" h="25400"/>
            </a:sp3d>
          </c:spPr>
          <c:cat>
            <c:strRef>
              <c:f>Лист1!$A$2:$A$5</c:f>
              <c:strCache>
                <c:ptCount val="4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  <c:pt idx="3">
                  <c:v>2021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362</c:v>
                </c:pt>
                <c:pt idx="1">
                  <c:v>1450.4</c:v>
                </c:pt>
                <c:pt idx="2">
                  <c:v>1515.2</c:v>
                </c:pt>
                <c:pt idx="3">
                  <c:v>1383.8</c:v>
                </c:pt>
              </c:numCache>
            </c:numRef>
          </c:val>
          <c:shape val="cylinder"/>
        </c:ser>
        <c:shape val="box"/>
        <c:axId val="124572032"/>
        <c:axId val="124573568"/>
        <c:axId val="0"/>
      </c:bar3DChart>
      <c:catAx>
        <c:axId val="124572032"/>
        <c:scaling>
          <c:orientation val="minMax"/>
        </c:scaling>
        <c:axPos val="b"/>
        <c:numFmt formatCode="General" sourceLinked="1"/>
        <c:tickLblPos val="nextTo"/>
        <c:crossAx val="124573568"/>
        <c:crosses val="autoZero"/>
        <c:auto val="1"/>
        <c:lblAlgn val="ctr"/>
        <c:lblOffset val="100"/>
      </c:catAx>
      <c:valAx>
        <c:axId val="124573568"/>
        <c:scaling>
          <c:orientation val="minMax"/>
        </c:scaling>
        <c:delete val="1"/>
        <c:axPos val="l"/>
        <c:numFmt formatCode="0.0" sourceLinked="1"/>
        <c:tickLblPos val="none"/>
        <c:crossAx val="124572032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 sz="28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2.5237342801907457E-3"/>
          <c:y val="0.12283683128749176"/>
          <c:w val="0.24216810236345729"/>
          <c:h val="0.77426265284508489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1651859142607192"/>
          <c:y val="8.6793828463504058E-2"/>
          <c:w val="0.68317597019123055"/>
          <c:h val="0.74150095368514712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НДФЛ</c:v>
                </c:pt>
              </c:strCache>
            </c:strRef>
          </c:tx>
          <c:spPr>
            <a:solidFill>
              <a:srgbClr val="009900"/>
            </a:solidFill>
          </c:spPr>
          <c:dLbls>
            <c:dLbl>
              <c:idx val="1"/>
              <c:layout>
                <c:manualLayout>
                  <c:x val="1.6369047619047845E-2"/>
                  <c:y val="-6.2111801242236975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1.9345238095238356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7.4404761904763523E-3"/>
                  <c:y val="-3.1055900621118899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#,##0.0</c:formatCode>
                <c:ptCount val="3"/>
                <c:pt idx="0">
                  <c:v>144.1</c:v>
                </c:pt>
                <c:pt idx="1">
                  <c:v>186.3</c:v>
                </c:pt>
                <c:pt idx="2">
                  <c:v>184.8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и на совокупный доход</c:v>
                </c:pt>
              </c:strCache>
            </c:strRef>
          </c:tx>
          <c:spPr>
            <a:solidFill>
              <a:srgbClr val="FFC000"/>
            </a:solidFill>
          </c:spPr>
          <c:dLbls>
            <c:dLbl>
              <c:idx val="0"/>
              <c:layout>
                <c:manualLayout>
                  <c:x val="-3.8848118949360619E-2"/>
                  <c:y val="3.4664844669034456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7730897913942282E-2"/>
                  <c:y val="-1.5245575498254506E-4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168569783396061E-2"/>
                  <c:y val="5.9059697731830754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4880952380952423E-2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8.9285714285714159E-3"/>
                  <c:y val="-1.5527950310559183E-2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C$2:$C$4</c:f>
              <c:numCache>
                <c:formatCode>#,##0.0</c:formatCode>
                <c:ptCount val="3"/>
                <c:pt idx="0">
                  <c:v>15.6</c:v>
                </c:pt>
                <c:pt idx="1">
                  <c:v>14.7</c:v>
                </c:pt>
                <c:pt idx="2">
                  <c:v>39.30000000000000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кцизы</c:v>
                </c:pt>
              </c:strCache>
            </c:strRef>
          </c:tx>
          <c:spPr>
            <a:solidFill>
              <a:schemeClr val="bg2">
                <a:lumMod val="10000"/>
              </a:schemeClr>
            </a:solidFill>
          </c:spPr>
          <c:dLbls>
            <c:dLbl>
              <c:idx val="0"/>
              <c:layout>
                <c:manualLayout>
                  <c:x val="4.6705804064632706E-2"/>
                  <c:y val="-1.222713300639495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2590301289998998E-2"/>
                  <c:y val="-9.4613451992908802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199064492717732E-2"/>
                  <c:y val="-6.4256578372618904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D$2:$D$4</c:f>
              <c:numCache>
                <c:formatCode>#,##0.0</c:formatCode>
                <c:ptCount val="3"/>
                <c:pt idx="0">
                  <c:v>6.4</c:v>
                </c:pt>
                <c:pt idx="1">
                  <c:v>5.9</c:v>
                </c:pt>
                <c:pt idx="2">
                  <c:v>6.9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Налог на имущество физ.лиц</c:v>
                </c:pt>
              </c:strCache>
            </c:strRef>
          </c:tx>
          <c:spPr>
            <a:solidFill>
              <a:schemeClr val="accent2"/>
            </a:solidFill>
          </c:spPr>
          <c:dLbls>
            <c:dLbl>
              <c:idx val="0"/>
              <c:layout>
                <c:manualLayout>
                  <c:x val="-9.5087881918337249E-3"/>
                  <c:y val="7.3619476793987731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2258867779411348E-2"/>
                  <c:y val="-1.8867597015297239E-7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558E-2"/>
                  <c:y val="4.4989064082793121E-17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E$2:$E$4</c:f>
              <c:numCache>
                <c:formatCode>#,##0.0</c:formatCode>
                <c:ptCount val="3"/>
                <c:pt idx="0">
                  <c:v>21.5</c:v>
                </c:pt>
                <c:pt idx="1">
                  <c:v>29.6</c:v>
                </c:pt>
                <c:pt idx="2">
                  <c:v>29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F$2:$F$4</c:f>
              <c:numCache>
                <c:formatCode>#,##0.0</c:formatCode>
                <c:ptCount val="3"/>
                <c:pt idx="0">
                  <c:v>75.7</c:v>
                </c:pt>
                <c:pt idx="1">
                  <c:v>88.4</c:v>
                </c:pt>
                <c:pt idx="2">
                  <c:v>156.5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Госпошлина</c:v>
                </c:pt>
              </c:strCache>
            </c:strRef>
          </c:tx>
          <c:spPr>
            <a:solidFill>
              <a:srgbClr val="C00000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 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G$2:$G$4</c:f>
              <c:numCache>
                <c:formatCode>#,##0.0</c:formatCode>
                <c:ptCount val="3"/>
                <c:pt idx="0">
                  <c:v>8.6</c:v>
                </c:pt>
                <c:pt idx="1">
                  <c:v>9.4</c:v>
                </c:pt>
                <c:pt idx="2">
                  <c:v>7.6</c:v>
                </c:pt>
              </c:numCache>
            </c:numRef>
          </c:val>
        </c:ser>
        <c:gapWidth val="52"/>
        <c:gapDepth val="50"/>
        <c:shape val="cylinder"/>
        <c:axId val="147949056"/>
        <c:axId val="147950592"/>
        <c:axId val="0"/>
      </c:bar3DChart>
      <c:catAx>
        <c:axId val="147949056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7950592"/>
        <c:crosses val="autoZero"/>
        <c:auto val="1"/>
        <c:lblAlgn val="ctr"/>
        <c:lblOffset val="100"/>
      </c:catAx>
      <c:valAx>
        <c:axId val="147950592"/>
        <c:scaling>
          <c:orientation val="minMax"/>
        </c:scaling>
        <c:delete val="1"/>
        <c:axPos val="l"/>
        <c:majorGridlines/>
        <c:numFmt formatCode="0%" sourceLinked="1"/>
        <c:tickLblPos val="none"/>
        <c:crossAx val="147949056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3333333333333367E-3"/>
          <c:y val="4.8696904047698428E-2"/>
          <c:w val="0.27645483377077884"/>
          <c:h val="0.88790875087953192"/>
        </c:manualLayout>
      </c:layout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0268427384077012"/>
          <c:y val="3.5779357849127858E-3"/>
          <c:w val="0.66923851706036763"/>
          <c:h val="0.91418823834388796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Административные платежи и сборы</c:v>
                </c:pt>
              </c:strCache>
            </c:strRef>
          </c:tx>
          <c:spPr>
            <a:solidFill>
              <a:srgbClr val="009900"/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B$2:$B$3</c:f>
              <c:numCache>
                <c:formatCode>#,##0.00</c:formatCode>
                <c:ptCount val="2"/>
                <c:pt idx="0" formatCode="#,##0.0">
                  <c:v>0.1</c:v>
                </c:pt>
                <c:pt idx="1">
                  <c:v>4.0000000000000015E-2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Прочие неналоговые доходы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0.2</c:v>
                </c:pt>
                <c:pt idx="1">
                  <c:v>1.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Аренда имущества</c:v>
                </c:pt>
              </c:strCache>
            </c:strRef>
          </c:tx>
          <c:spPr>
            <a:solidFill>
              <a:srgbClr val="0C3FCE"/>
            </a:solidFill>
          </c:spPr>
          <c:dLbls>
            <c:dLbl>
              <c:idx val="0"/>
              <c:layout>
                <c:manualLayout>
                  <c:x val="4.6705804064632706E-2"/>
                  <c:y val="-1.2227133006394959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4.6752213323227133E-2"/>
                  <c:y val="-9.4610643925123767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4.5199064492717732E-2"/>
                  <c:y val="-6.4256578372618904E-3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trike="noStrike"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1.2</c:v>
                </c:pt>
                <c:pt idx="1">
                  <c:v>1.4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Доходы от реализации имущества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4.7175196850393914E-3"/>
                  <c:y val="9.8309547051306546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4564741907261593E-2"/>
                  <c:y val="-9.8762532683497432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662E-2"/>
                  <c:y val="4.4989064082793706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1.4</c:v>
                </c:pt>
                <c:pt idx="1">
                  <c:v>3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ходы от оказания платных услуг</c:v>
                </c:pt>
              </c:strCache>
            </c:strRef>
          </c:tx>
          <c:spPr>
            <a:solidFill>
              <a:srgbClr val="66CCFF"/>
            </a:solidFill>
          </c:spPr>
          <c:dLbls>
            <c:dLbl>
              <c:idx val="0"/>
              <c:layout>
                <c:manualLayout>
                  <c:x val="4.4444444444444432E-2"/>
                  <c:y val="0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5.0893146886976488E-5"/>
                  <c:y val="5.4852501951446623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5.0999999999999996</c:v>
                </c:pt>
                <c:pt idx="1">
                  <c:v>5.4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Прочие доходы от использования       .                                                    имущества</c:v>
                </c:pt>
              </c:strCache>
            </c:strRef>
          </c:tx>
          <c:spPr>
            <a:solidFill>
              <a:srgbClr val="00FF00"/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0.6000000000000002</c:v>
                </c:pt>
                <c:pt idx="1">
                  <c:v>1.7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Платежи от МУП</c:v>
                </c:pt>
              </c:strCache>
            </c:strRef>
          </c:tx>
          <c:spPr>
            <a:solidFill>
              <a:srgbClr val="F68B32"/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0.2</c:v>
                </c:pt>
                <c:pt idx="1">
                  <c:v>0.3000000000000001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Платежи от природных ресурсов</c:v>
                </c:pt>
              </c:strCache>
            </c:strRef>
          </c:tx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I$2:$I$3</c:f>
              <c:numCache>
                <c:formatCode>#,##0.00</c:formatCode>
                <c:ptCount val="2"/>
                <c:pt idx="0">
                  <c:v>2.0000000000000007E-2</c:v>
                </c:pt>
                <c:pt idx="1">
                  <c:v>0.1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Штрафы, санкции и возмещение ущерба</c:v>
                </c:pt>
              </c:strCache>
            </c:strRef>
          </c:tx>
          <c:dLbls>
            <c:dLbl>
              <c:idx val="0"/>
              <c:layout>
                <c:manualLayout>
                  <c:x val="-2.5457709799481001E-2"/>
                  <c:y val="-1.653405019321033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J$2:$J$3</c:f>
              <c:numCache>
                <c:formatCode>#,##0.0</c:formatCode>
                <c:ptCount val="2"/>
                <c:pt idx="0">
                  <c:v>7.9</c:v>
                </c:pt>
                <c:pt idx="1">
                  <c:v>7.2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Аренда земли</c:v>
                </c:pt>
              </c:strCache>
            </c:strRef>
          </c:tx>
          <c:spPr>
            <a:solidFill>
              <a:srgbClr val="00B050"/>
            </a:solidFill>
          </c:spPr>
          <c:dLbls>
            <c:dLbl>
              <c:idx val="0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elete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K$2:$K$3</c:f>
              <c:numCache>
                <c:formatCode>#,##0.0</c:formatCode>
                <c:ptCount val="2"/>
                <c:pt idx="0">
                  <c:v>39.4</c:v>
                </c:pt>
                <c:pt idx="1">
                  <c:v>49.1</c:v>
                </c:pt>
              </c:numCache>
            </c:numRef>
          </c:val>
        </c:ser>
        <c:gapWidth val="52"/>
        <c:gapDepth val="50"/>
        <c:shape val="cylinder"/>
        <c:axId val="149075072"/>
        <c:axId val="149076608"/>
        <c:axId val="0"/>
      </c:bar3DChart>
      <c:catAx>
        <c:axId val="149075072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9076608"/>
        <c:crosses val="autoZero"/>
        <c:auto val="1"/>
        <c:lblAlgn val="ctr"/>
        <c:lblOffset val="100"/>
      </c:catAx>
      <c:valAx>
        <c:axId val="149076608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149075072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 sz="18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6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7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8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4859032664936721E-3"/>
          <c:y val="0"/>
          <c:w val="0.28749182313061239"/>
          <c:h val="1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0.30407316272965906"/>
          <c:y val="8.117165469208984E-2"/>
          <c:w val="0.66646073928258964"/>
          <c:h val="0.82537047165699562"/>
        </c:manualLayout>
      </c:layout>
      <c:bar3DChart>
        <c:barDir val="col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009900"/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.2</c:v>
                </c:pt>
                <c:pt idx="1">
                  <c:v>0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озврат остатков межбюджетных трансфертов  .прошлых лет</c:v>
                </c:pt>
              </c:strCache>
            </c:strRef>
          </c:tx>
          <c:spPr>
            <a:solidFill>
              <a:srgbClr val="FFC000">
                <a:alpha val="95000"/>
              </a:srgbClr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C$2:$C$3</c:f>
              <c:numCache>
                <c:formatCode>#,##0.0</c:formatCode>
                <c:ptCount val="2"/>
                <c:pt idx="0">
                  <c:v>10.3</c:v>
                </c:pt>
                <c:pt idx="1">
                  <c:v>4.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Возврат остатков бюджетными учреждениями        .прошлых лет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D$2:$D$3</c:f>
              <c:numCache>
                <c:formatCode>#,##0.0</c:formatCode>
                <c:ptCount val="2"/>
                <c:pt idx="0">
                  <c:v>0</c:v>
                </c:pt>
                <c:pt idx="1">
                  <c:v>0.8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990099"/>
            </a:solidFill>
          </c:spPr>
          <c:dLbls>
            <c:dLbl>
              <c:idx val="0"/>
              <c:layout>
                <c:manualLayout>
                  <c:x val="-1.3050743657042972E-2"/>
                  <c:y val="-4.6014327291032725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7.1303587051608412E-4"/>
                  <c:y val="-2.3926545880941508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,6</a:t>
                    </a:r>
                    <a:endParaRPr lang="en-US" dirty="0"/>
                  </a:p>
                </c:rich>
              </c:tx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6761971688606648E-2"/>
                  <c:y val="4.498906408279362E-17"/>
                </c:manualLayout>
              </c:layout>
              <c:showVal val="1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aseline="0">
                    <a:solidFill>
                      <a:schemeClr val="bg2">
                        <a:lumMod val="90000"/>
                      </a:schemeClr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E$2:$E$3</c:f>
              <c:numCache>
                <c:formatCode>#,##0.0</c:formatCode>
                <c:ptCount val="2"/>
                <c:pt idx="0">
                  <c:v>60.6</c:v>
                </c:pt>
                <c:pt idx="1">
                  <c:v>61.6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Дотации</c:v>
                </c:pt>
              </c:strCache>
            </c:strRef>
          </c:tx>
          <c:spPr>
            <a:solidFill>
              <a:srgbClr val="66CCFF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F$2:$F$3</c:f>
              <c:numCache>
                <c:formatCode>#,##0.0</c:formatCode>
                <c:ptCount val="2"/>
                <c:pt idx="0">
                  <c:v>409.6</c:v>
                </c:pt>
                <c:pt idx="1">
                  <c:v>374.3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00B050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G$2:$G$3</c:f>
              <c:numCache>
                <c:formatCode>#,##0.0</c:formatCode>
                <c:ptCount val="2"/>
                <c:pt idx="0">
                  <c:v>366.8</c:v>
                </c:pt>
                <c:pt idx="1">
                  <c:v>186.6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F68B32"/>
            </a:solidFill>
          </c:spPr>
          <c:dLbls>
            <c:spPr>
              <a:noFill/>
              <a:ln>
                <a:noFill/>
              </a:ln>
              <a:effectLst/>
            </c:spPr>
            <c:showVal val="1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strRef>
              <c:f>Лист1!$A$2:$A$3</c:f>
              <c:strCache>
                <c:ptCount val="2"/>
                <c:pt idx="0">
                  <c:v>2020 год</c:v>
                </c:pt>
                <c:pt idx="1">
                  <c:v>2021 год</c:v>
                </c:pt>
              </c:strCache>
            </c:strRef>
          </c:cat>
          <c:val>
            <c:numRef>
              <c:f>Лист1!$H$2:$H$3</c:f>
              <c:numCache>
                <c:formatCode>#,##0.0</c:formatCode>
                <c:ptCount val="2"/>
                <c:pt idx="0">
                  <c:v>687.3</c:v>
                </c:pt>
                <c:pt idx="1">
                  <c:v>764.7</c:v>
                </c:pt>
              </c:numCache>
            </c:numRef>
          </c:val>
        </c:ser>
        <c:gapWidth val="52"/>
        <c:gapDepth val="50"/>
        <c:shape val="cylinder"/>
        <c:axId val="149258240"/>
        <c:axId val="149259776"/>
        <c:axId val="0"/>
      </c:bar3DChart>
      <c:catAx>
        <c:axId val="149258240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149259776"/>
        <c:crosses val="autoZero"/>
        <c:auto val="1"/>
        <c:lblAlgn val="ctr"/>
        <c:lblOffset val="100"/>
      </c:catAx>
      <c:valAx>
        <c:axId val="149259776"/>
        <c:scaling>
          <c:orientation val="minMax"/>
        </c:scaling>
        <c:delete val="1"/>
        <c:axPos val="l"/>
        <c:majorGridlines>
          <c:spPr>
            <a:ln>
              <a:solidFill>
                <a:schemeClr val="bg1"/>
              </a:solidFill>
            </a:ln>
            <a:effectLst>
              <a:outerShdw blurRad="50800" dist="50800" dir="5400000" algn="ctr" rotWithShape="0">
                <a:schemeClr val="bg1"/>
              </a:outerShdw>
            </a:effectLst>
          </c:spPr>
        </c:majorGridlines>
        <c:numFmt formatCode="0%" sourceLinked="1"/>
        <c:tickLblPos val="none"/>
        <c:crossAx val="149258240"/>
        <c:crosses val="autoZero"/>
        <c:crossBetween val="between"/>
      </c:valAx>
    </c:plotArea>
    <c:legend>
      <c:legendPos val="l"/>
      <c:legendEntry>
        <c:idx val="0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6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5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egendEntry>
        <c:idx val="6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8.3333333333333367E-3"/>
          <c:y val="1.8376318423977477E-2"/>
          <c:w val="0.27051738845144357"/>
          <c:h val="0.98162368157602253"/>
        </c:manualLayout>
      </c:layout>
      <c:txPr>
        <a:bodyPr/>
        <a:lstStyle/>
        <a:p>
          <a:pPr>
            <a:defRPr sz="1400"/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0918806320871506E-2"/>
          <c:y val="4.0927780481108712E-2"/>
          <c:w val="0.72044533096838514"/>
          <c:h val="0.831902628484256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solidFill>
              <a:schemeClr val="accent6">
                <a:lumMod val="75000"/>
              </a:schemeClr>
            </a:solidFill>
          </c:spPr>
          <c:dLbls>
            <c:dLbl>
              <c:idx val="0"/>
              <c:layout>
                <c:manualLayout>
                  <c:x val="-2.4271763117267652E-2"/>
                  <c:y val="3.0719873056776696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5.0867694124883442E-2"/>
                  <c:y val="3.8399639747000475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6.4987046623420822E-2"/>
                  <c:y val="2.303970321861224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22</c:v>
                </c:pt>
                <c:pt idx="1">
                  <c:v>19</c:v>
                </c:pt>
                <c:pt idx="2">
                  <c:v>6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вышестоящие уровни бюджета</c:v>
                </c:pt>
              </c:strCache>
            </c:strRef>
          </c:tx>
          <c:spPr>
            <a:solidFill>
              <a:srgbClr val="6DBB27"/>
            </a:solidFill>
          </c:spPr>
          <c:dLbls>
            <c:dLbl>
              <c:idx val="0"/>
              <c:layout>
                <c:manualLayout>
                  <c:x val="1.3223047946100869E-2"/>
                  <c:y val="-1.5359936528388258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2.0569185693934629E-2"/>
                  <c:y val="-5.3759777849359022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2.1756342137568076E-2"/>
                  <c:y val="-1.7920127523756501E-2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382</c:v>
                </c:pt>
                <c:pt idx="1">
                  <c:v>354</c:v>
                </c:pt>
                <c:pt idx="2">
                  <c:v>129</c:v>
                </c:pt>
              </c:numCache>
            </c:numRef>
          </c:val>
        </c:ser>
        <c:gapWidth val="30"/>
        <c:shape val="cylinder"/>
        <c:axId val="153598208"/>
        <c:axId val="153614592"/>
        <c:axId val="0"/>
      </c:bar3DChart>
      <c:catAx>
        <c:axId val="153598208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2400" b="1">
                <a:solidFill>
                  <a:schemeClr val="bg1"/>
                </a:solidFill>
              </a:defRPr>
            </a:pPr>
            <a:endParaRPr lang="ru-RU"/>
          </a:p>
        </c:txPr>
        <c:crossAx val="153614592"/>
        <c:crosses val="autoZero"/>
        <c:auto val="1"/>
        <c:lblAlgn val="ctr"/>
        <c:lblOffset val="100"/>
      </c:catAx>
      <c:valAx>
        <c:axId val="153614592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535982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7853317428389115"/>
          <c:y val="0.19342796290555167"/>
          <c:w val="0.19163068755362711"/>
          <c:h val="0.4467447617980238"/>
        </c:manualLayout>
      </c:layout>
      <c:txPr>
        <a:bodyPr/>
        <a:lstStyle/>
        <a:p>
          <a:pPr>
            <a:defRPr sz="1800" b="1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spPr>
    <a:scene3d>
      <a:camera prst="orthographicFront"/>
      <a:lightRig rig="threePt" dir="t"/>
    </a:scene3d>
    <a:sp3d>
      <a:bevelT w="6350"/>
    </a:sp3d>
  </c:spPr>
  <c:txPr>
    <a:bodyPr/>
    <a:lstStyle/>
    <a:p>
      <a:pPr>
        <a:defRPr sz="1800"/>
      </a:pPr>
      <a:endParaRPr lang="ru-RU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7.684831583552057E-2"/>
          <c:y val="2.444439233412541E-2"/>
          <c:w val="0.83666218285214256"/>
          <c:h val="0.46294411074265146"/>
        </c:manualLayout>
      </c:layout>
      <c:bar3DChart>
        <c:barDir val="bar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Развитие образова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83</c:v>
                </c:pt>
                <c:pt idx="1">
                  <c:v>645</c:v>
                </c:pt>
                <c:pt idx="2">
                  <c:v>61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оц поддержка населе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  <c:pt idx="0">
                  <c:v>276</c:v>
                </c:pt>
                <c:pt idx="1">
                  <c:v>430</c:v>
                </c:pt>
                <c:pt idx="2">
                  <c:v>483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управление имуществом</c:v>
                </c:pt>
              </c:strCache>
            </c:strRef>
          </c:tx>
          <c:spPr>
            <a:solidFill>
              <a:srgbClr val="FFFF00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  <c:pt idx="0">
                  <c:v>11</c:v>
                </c:pt>
                <c:pt idx="1">
                  <c:v>11</c:v>
                </c:pt>
                <c:pt idx="2">
                  <c:v>11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Развитие физ-ры и спорта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E$2:$E$4</c:f>
              <c:numCache>
                <c:formatCode>General</c:formatCode>
                <c:ptCount val="3"/>
                <c:pt idx="0">
                  <c:v>94</c:v>
                </c:pt>
                <c:pt idx="1">
                  <c:v>17</c:v>
                </c:pt>
                <c:pt idx="2">
                  <c:v>19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Развитие градостроительства и архитектуры</c:v>
                </c:pt>
              </c:strCache>
            </c:strRef>
          </c:tx>
          <c:spPr>
            <a:solidFill>
              <a:srgbClr val="FF0066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F$2:$F$4</c:f>
              <c:numCache>
                <c:formatCode>General</c:formatCode>
                <c:ptCount val="3"/>
                <c:pt idx="0">
                  <c:v>15</c:v>
                </c:pt>
                <c:pt idx="1">
                  <c:v>34</c:v>
                </c:pt>
                <c:pt idx="2">
                  <c:v>12</c:v>
                </c:pt>
              </c:numCache>
            </c:numRef>
          </c:val>
        </c:ser>
        <c:ser>
          <c:idx val="5"/>
          <c:order val="5"/>
          <c:tx>
            <c:strRef>
              <c:f>Лист1!$G$1</c:f>
              <c:strCache>
                <c:ptCount val="1"/>
                <c:pt idx="0">
                  <c:v>Культура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G$2:$G$4</c:f>
              <c:numCache>
                <c:formatCode>General</c:formatCode>
                <c:ptCount val="3"/>
                <c:pt idx="0">
                  <c:v>91</c:v>
                </c:pt>
                <c:pt idx="1">
                  <c:v>46</c:v>
                </c:pt>
                <c:pt idx="2">
                  <c:v>58</c:v>
                </c:pt>
              </c:numCache>
            </c:numRef>
          </c:val>
        </c:ser>
        <c:ser>
          <c:idx val="6"/>
          <c:order val="6"/>
          <c:tx>
            <c:strRef>
              <c:f>Лист1!$H$1</c:f>
              <c:strCache>
                <c:ptCount val="1"/>
                <c:pt idx="0">
                  <c:v>Развитие экономики</c:v>
                </c:pt>
              </c:strCache>
            </c:strRef>
          </c:tx>
          <c:spPr>
            <a:solidFill>
              <a:srgbClr val="00FF00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H$2:$H$4</c:f>
              <c:numCache>
                <c:formatCode>General</c:formatCode>
                <c:ptCount val="3"/>
                <c:pt idx="0">
                  <c:v>0.1</c:v>
                </c:pt>
                <c:pt idx="1">
                  <c:v>0.1</c:v>
                </c:pt>
                <c:pt idx="2">
                  <c:v>0.4</c:v>
                </c:pt>
              </c:numCache>
            </c:numRef>
          </c:val>
        </c:ser>
        <c:ser>
          <c:idx val="7"/>
          <c:order val="7"/>
          <c:tx>
            <c:strRef>
              <c:f>Лист1!$I$1</c:f>
              <c:strCache>
                <c:ptCount val="1"/>
                <c:pt idx="0">
                  <c:v>Развитие ЖКХ</c:v>
                </c:pt>
              </c:strCache>
            </c:strRef>
          </c:tx>
          <c:spPr>
            <a:solidFill>
              <a:srgbClr val="FFC000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I$2:$I$4</c:f>
              <c:numCache>
                <c:formatCode>General</c:formatCode>
                <c:ptCount val="3"/>
                <c:pt idx="0">
                  <c:v>173</c:v>
                </c:pt>
                <c:pt idx="1">
                  <c:v>221</c:v>
                </c:pt>
                <c:pt idx="2">
                  <c:v>304</c:v>
                </c:pt>
              </c:numCache>
            </c:numRef>
          </c:val>
        </c:ser>
        <c:ser>
          <c:idx val="8"/>
          <c:order val="8"/>
          <c:tx>
            <c:strRef>
              <c:f>Лист1!$J$1</c:f>
              <c:strCache>
                <c:ptCount val="1"/>
                <c:pt idx="0">
                  <c:v>Развитие трансп системы и охрана окр среды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J$2:$J$4</c:f>
              <c:numCache>
                <c:formatCode>General</c:formatCode>
                <c:ptCount val="3"/>
                <c:pt idx="0">
                  <c:v>96</c:v>
                </c:pt>
                <c:pt idx="1">
                  <c:v>78</c:v>
                </c:pt>
                <c:pt idx="2">
                  <c:v>92</c:v>
                </c:pt>
              </c:numCache>
            </c:numRef>
          </c:val>
        </c:ser>
        <c:ser>
          <c:idx val="9"/>
          <c:order val="9"/>
          <c:tx>
            <c:strRef>
              <c:f>Лист1!$K$1</c:f>
              <c:strCache>
                <c:ptCount val="1"/>
                <c:pt idx="0">
                  <c:v>Создание условий безопасной жизни населения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K$2:$K$4</c:f>
              <c:numCache>
                <c:formatCode>General</c:formatCode>
                <c:ptCount val="3"/>
                <c:pt idx="0">
                  <c:v>24</c:v>
                </c:pt>
                <c:pt idx="1">
                  <c:v>16</c:v>
                </c:pt>
                <c:pt idx="2">
                  <c:v>12</c:v>
                </c:pt>
              </c:numCache>
            </c:numRef>
          </c:val>
        </c:ser>
        <c:ser>
          <c:idx val="10"/>
          <c:order val="10"/>
          <c:tx>
            <c:strRef>
              <c:f>Лист1!$L$1</c:f>
              <c:strCache>
                <c:ptCount val="1"/>
                <c:pt idx="0">
                  <c:v>Открытость и эффективность работы администрации</c:v>
                </c:pt>
              </c:strCache>
            </c:strRef>
          </c:tx>
          <c:spPr>
            <a:solidFill>
              <a:srgbClr val="00B0F0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L$2:$L$4</c:f>
              <c:numCache>
                <c:formatCode>General</c:formatCode>
                <c:ptCount val="3"/>
                <c:pt idx="0">
                  <c:v>17</c:v>
                </c:pt>
                <c:pt idx="1">
                  <c:v>17</c:v>
                </c:pt>
                <c:pt idx="2">
                  <c:v>17</c:v>
                </c:pt>
              </c:numCache>
            </c:numRef>
          </c:val>
        </c:ser>
        <c:ser>
          <c:idx val="11"/>
          <c:order val="11"/>
          <c:tx>
            <c:strRef>
              <c:f>Лист1!$M$1</c:f>
              <c:strCache>
                <c:ptCount val="1"/>
                <c:pt idx="0">
                  <c:v>Молодежь</c:v>
                </c:pt>
              </c:strCache>
            </c:strRef>
          </c:tx>
          <c:spPr>
            <a:solidFill>
              <a:srgbClr val="FF00FF"/>
            </a:solidFill>
          </c:spPr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M$2:$M$4</c:f>
              <c:numCache>
                <c:formatCode>General</c:formatCode>
                <c:ptCount val="3"/>
                <c:pt idx="0">
                  <c:v>0.9</c:v>
                </c:pt>
                <c:pt idx="1">
                  <c:v>0.9</c:v>
                </c:pt>
                <c:pt idx="2">
                  <c:v>1</c:v>
                </c:pt>
              </c:numCache>
            </c:numRef>
          </c:val>
        </c:ser>
        <c:ser>
          <c:idx val="12"/>
          <c:order val="12"/>
          <c:tx>
            <c:strRef>
              <c:f>Лист1!$N$1</c:f>
              <c:strCache>
                <c:ptCount val="1"/>
                <c:pt idx="0">
                  <c:v>Формирование современной городской среды</c:v>
                </c:pt>
              </c:strCache>
            </c:strRef>
          </c:tx>
          <c:cat>
            <c:strRef>
              <c:f>Лист1!$A$2:$A$4</c:f>
              <c:strCache>
                <c:ptCount val="3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</c:strCache>
            </c:strRef>
          </c:cat>
          <c:val>
            <c:numRef>
              <c:f>Лист1!$N$2:$N$4</c:f>
              <c:numCache>
                <c:formatCode>General</c:formatCode>
                <c:ptCount val="3"/>
                <c:pt idx="0">
                  <c:v>274</c:v>
                </c:pt>
                <c:pt idx="1">
                  <c:v>174</c:v>
                </c:pt>
                <c:pt idx="2">
                  <c:v>76</c:v>
                </c:pt>
              </c:numCache>
            </c:numRef>
          </c:val>
        </c:ser>
        <c:gapWidth val="38"/>
        <c:gapDepth val="50"/>
        <c:shape val="box"/>
        <c:axId val="154173440"/>
        <c:axId val="154174976"/>
        <c:axId val="0"/>
      </c:bar3DChart>
      <c:catAx>
        <c:axId val="154173440"/>
        <c:scaling>
          <c:orientation val="minMax"/>
        </c:scaling>
        <c:axPos val="l"/>
        <c:numFmt formatCode="General" sourceLinked="0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54174976"/>
        <c:crosses val="autoZero"/>
        <c:auto val="1"/>
        <c:lblAlgn val="ctr"/>
        <c:lblOffset val="100"/>
      </c:catAx>
      <c:valAx>
        <c:axId val="154174976"/>
        <c:scaling>
          <c:orientation val="minMax"/>
          <c:max val="1700"/>
          <c:min val="0"/>
        </c:scaling>
        <c:axPos val="b"/>
        <c:majorGridlines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5417344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19140551181102367"/>
          <c:y val="0.56397044153817799"/>
          <c:w val="0.72552230971128573"/>
          <c:h val="0.33654756980160411"/>
        </c:manualLayout>
      </c:layout>
      <c:txPr>
        <a:bodyPr/>
        <a:lstStyle/>
        <a:p>
          <a:pPr>
            <a:defRPr sz="1300" spc="-100" baseline="0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2403871391076147E-2"/>
          <c:y val="2.4444376008746091E-2"/>
          <c:w val="0.83666218285214256"/>
          <c:h val="0.46294411074265152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од</c:v>
                </c:pt>
              </c:strCache>
            </c:strRef>
          </c:tx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123</c:v>
                </c:pt>
                <c:pt idx="1">
                  <c:v>2</c:v>
                </c:pt>
                <c:pt idx="2">
                  <c:v>24</c:v>
                </c:pt>
                <c:pt idx="3">
                  <c:v>104</c:v>
                </c:pt>
                <c:pt idx="4">
                  <c:v>481</c:v>
                </c:pt>
                <c:pt idx="5">
                  <c:v>1</c:v>
                </c:pt>
                <c:pt idx="6">
                  <c:v>580</c:v>
                </c:pt>
                <c:pt idx="7">
                  <c:v>91</c:v>
                </c:pt>
                <c:pt idx="8">
                  <c:v>292</c:v>
                </c:pt>
                <c:pt idx="9">
                  <c:v>94</c:v>
                </c:pt>
                <c:pt idx="10">
                  <c:v>2</c:v>
                </c:pt>
                <c:pt idx="11">
                  <c:v>0.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 год</c:v>
                </c:pt>
              </c:strCache>
            </c:strRef>
          </c:tx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150</c:v>
                </c:pt>
                <c:pt idx="1">
                  <c:v>2</c:v>
                </c:pt>
                <c:pt idx="2">
                  <c:v>14</c:v>
                </c:pt>
                <c:pt idx="3">
                  <c:v>114</c:v>
                </c:pt>
                <c:pt idx="4">
                  <c:v>388</c:v>
                </c:pt>
                <c:pt idx="5">
                  <c:v>1</c:v>
                </c:pt>
                <c:pt idx="6">
                  <c:v>646</c:v>
                </c:pt>
                <c:pt idx="7">
                  <c:v>46</c:v>
                </c:pt>
                <c:pt idx="8">
                  <c:v>462</c:v>
                </c:pt>
                <c:pt idx="9">
                  <c:v>17</c:v>
                </c:pt>
                <c:pt idx="10">
                  <c:v>2</c:v>
                </c:pt>
                <c:pt idx="11">
                  <c:v>0.1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 год</c:v>
                </c:pt>
              </c:strCache>
            </c:strRef>
          </c:tx>
          <c:spPr>
            <a:solidFill>
              <a:srgbClr val="FFFF00"/>
            </a:solidFill>
          </c:spPr>
          <c:cat>
            <c:strRef>
              <c:f>Лист1!$A$2:$A$13</c:f>
              <c:strCache>
                <c:ptCount val="12"/>
                <c:pt idx="0">
                  <c:v>общегос вопросы</c:v>
                </c:pt>
                <c:pt idx="1">
                  <c:v>нац оборона</c:v>
                </c:pt>
                <c:pt idx="2">
                  <c:v>нац безоп</c:v>
                </c:pt>
                <c:pt idx="3">
                  <c:v>нац экономика</c:v>
                </c:pt>
                <c:pt idx="4">
                  <c:v>ЖКХ</c:v>
                </c:pt>
                <c:pt idx="5">
                  <c:v>охрана окр среды</c:v>
                </c:pt>
                <c:pt idx="6">
                  <c:v>образование</c:v>
                </c:pt>
                <c:pt idx="7">
                  <c:v>культура</c:v>
                </c:pt>
                <c:pt idx="8">
                  <c:v>соц политика</c:v>
                </c:pt>
                <c:pt idx="9">
                  <c:v>физ культ и спорт</c:v>
                </c:pt>
                <c:pt idx="10">
                  <c:v>средства масс информ</c:v>
                </c:pt>
                <c:pt idx="11">
                  <c:v>обслуж мун долга</c:v>
                </c:pt>
              </c:strCache>
            </c:strRef>
          </c:cat>
          <c:val>
            <c:numRef>
              <c:f>Лист1!$D$2:$D$13</c:f>
              <c:numCache>
                <c:formatCode>General</c:formatCode>
                <c:ptCount val="12"/>
                <c:pt idx="0">
                  <c:v>154</c:v>
                </c:pt>
                <c:pt idx="1">
                  <c:v>2</c:v>
                </c:pt>
                <c:pt idx="2">
                  <c:v>10</c:v>
                </c:pt>
                <c:pt idx="3">
                  <c:v>108</c:v>
                </c:pt>
                <c:pt idx="4">
                  <c:v>377</c:v>
                </c:pt>
                <c:pt idx="5">
                  <c:v>2</c:v>
                </c:pt>
                <c:pt idx="6">
                  <c:v>610</c:v>
                </c:pt>
                <c:pt idx="7">
                  <c:v>58</c:v>
                </c:pt>
                <c:pt idx="8">
                  <c:v>495</c:v>
                </c:pt>
                <c:pt idx="9">
                  <c:v>19</c:v>
                </c:pt>
                <c:pt idx="10">
                  <c:v>2</c:v>
                </c:pt>
                <c:pt idx="11">
                  <c:v>0</c:v>
                </c:pt>
              </c:numCache>
            </c:numRef>
          </c:val>
        </c:ser>
        <c:gapWidth val="38"/>
        <c:gapDepth val="50"/>
        <c:shape val="box"/>
        <c:axId val="154354816"/>
        <c:axId val="154356352"/>
        <c:axId val="0"/>
      </c:bar3DChart>
      <c:catAx>
        <c:axId val="154354816"/>
        <c:scaling>
          <c:orientation val="minMax"/>
        </c:scaling>
        <c:axPos val="b"/>
        <c:numFmt formatCode="General" sourceLinked="1"/>
        <c:tickLblPos val="low"/>
        <c:txPr>
          <a:bodyPr/>
          <a:lstStyle/>
          <a:p>
            <a:pPr>
              <a:defRPr sz="1400">
                <a:solidFill>
                  <a:schemeClr val="bg1"/>
                </a:solidFill>
              </a:defRPr>
            </a:pPr>
            <a:endParaRPr lang="ru-RU"/>
          </a:p>
        </c:txPr>
        <c:crossAx val="154356352"/>
        <c:crosses val="autoZero"/>
        <c:auto val="1"/>
        <c:lblAlgn val="ctr"/>
        <c:lblOffset val="100"/>
      </c:catAx>
      <c:valAx>
        <c:axId val="154356352"/>
        <c:scaling>
          <c:orientation val="minMax"/>
          <c:max val="650"/>
          <c:min val="0"/>
        </c:scaling>
        <c:axPos val="l"/>
        <c:majorGridlines/>
        <c:numFmt formatCode="General" sourceLinked="1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54354816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88584995625547103"/>
          <c:y val="6.4658913316522723E-2"/>
          <c:w val="9.7581583552055998E-2"/>
          <c:h val="0.25013336657110646"/>
        </c:manualLayout>
      </c:layout>
      <c:txPr>
        <a:bodyPr/>
        <a:lstStyle/>
        <a:p>
          <a:pPr>
            <a:defRPr sz="1500" spc="-100" baseline="0"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AngAx val="1"/>
    </c:view3D>
    <c:plotArea>
      <c:layout>
        <c:manualLayout>
          <c:layoutTarget val="inner"/>
          <c:xMode val="edge"/>
          <c:yMode val="edge"/>
          <c:x val="8.1593550933867207E-2"/>
          <c:y val="4.0346785109915913E-2"/>
          <c:w val="0.77589212890293247"/>
          <c:h val="0.71521060743232445"/>
        </c:manualLayout>
      </c:layout>
      <c:bar3DChart>
        <c:barDir val="col"/>
        <c:grouping val="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местный бюджет</c:v>
                </c:pt>
              </c:strCache>
            </c:strRef>
          </c:tx>
          <c:spPr>
            <a:solidFill>
              <a:srgbClr val="6DBB27"/>
            </a:solidFill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B$2:$B$13</c:f>
              <c:numCache>
                <c:formatCode>General</c:formatCode>
                <c:ptCount val="12"/>
                <c:pt idx="0">
                  <c:v>27</c:v>
                </c:pt>
                <c:pt idx="1">
                  <c:v>54</c:v>
                </c:pt>
                <c:pt idx="2">
                  <c:v>78</c:v>
                </c:pt>
                <c:pt idx="3">
                  <c:v>77</c:v>
                </c:pt>
                <c:pt idx="4">
                  <c:v>39</c:v>
                </c:pt>
                <c:pt idx="5">
                  <c:v>68</c:v>
                </c:pt>
                <c:pt idx="6">
                  <c:v>65</c:v>
                </c:pt>
                <c:pt idx="7">
                  <c:v>59</c:v>
                </c:pt>
                <c:pt idx="8">
                  <c:v>52</c:v>
                </c:pt>
                <c:pt idx="9">
                  <c:v>124</c:v>
                </c:pt>
                <c:pt idx="10">
                  <c:v>58</c:v>
                </c:pt>
                <c:pt idx="11">
                  <c:v>184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ругие уровни бюджета</c:v>
                </c:pt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dLbls>
            <c:dLbl>
              <c:idx val="0"/>
              <c:layout>
                <c:manualLayout>
                  <c:x val="5.4282028042135612E-3"/>
                  <c:y val="-6.9767441860466234E-3"/>
                </c:manualLayout>
              </c:layout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900" b="1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13</c:f>
              <c:strCache>
                <c:ptCount val="12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  <c:pt idx="6">
                  <c:v>июль</c:v>
                </c:pt>
                <c:pt idx="7">
                  <c:v>август</c:v>
                </c:pt>
                <c:pt idx="8">
                  <c:v>сентябрь</c:v>
                </c:pt>
                <c:pt idx="9">
                  <c:v>октябрь</c:v>
                </c:pt>
                <c:pt idx="10">
                  <c:v>ноябрь</c:v>
                </c:pt>
                <c:pt idx="11">
                  <c:v>декабрь</c:v>
                </c:pt>
              </c:strCache>
            </c:strRef>
          </c:cat>
          <c:val>
            <c:numRef>
              <c:f>Лист1!$C$2:$C$13</c:f>
              <c:numCache>
                <c:formatCode>General</c:formatCode>
                <c:ptCount val="12"/>
                <c:pt idx="0">
                  <c:v>48</c:v>
                </c:pt>
                <c:pt idx="1">
                  <c:v>73</c:v>
                </c:pt>
                <c:pt idx="2">
                  <c:v>80</c:v>
                </c:pt>
                <c:pt idx="3">
                  <c:v>89</c:v>
                </c:pt>
                <c:pt idx="4">
                  <c:v>71</c:v>
                </c:pt>
                <c:pt idx="5">
                  <c:v>111</c:v>
                </c:pt>
                <c:pt idx="6">
                  <c:v>91</c:v>
                </c:pt>
                <c:pt idx="7">
                  <c:v>58</c:v>
                </c:pt>
                <c:pt idx="8">
                  <c:v>97</c:v>
                </c:pt>
                <c:pt idx="9">
                  <c:v>66</c:v>
                </c:pt>
                <c:pt idx="10">
                  <c:v>74</c:v>
                </c:pt>
                <c:pt idx="11">
                  <c:v>94</c:v>
                </c:pt>
              </c:numCache>
            </c:numRef>
          </c:val>
        </c:ser>
        <c:gapWidth val="58"/>
        <c:gapDepth val="60"/>
        <c:shape val="box"/>
        <c:axId val="154585728"/>
        <c:axId val="154595712"/>
        <c:axId val="0"/>
      </c:bar3DChart>
      <c:catAx>
        <c:axId val="154585728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>
                <a:solidFill>
                  <a:schemeClr val="bg1"/>
                </a:solidFill>
              </a:defRPr>
            </a:pPr>
            <a:endParaRPr lang="ru-RU"/>
          </a:p>
        </c:txPr>
        <c:crossAx val="154595712"/>
        <c:crosses val="autoZero"/>
        <c:auto val="1"/>
        <c:lblAlgn val="ctr"/>
        <c:lblOffset val="100"/>
      </c:catAx>
      <c:valAx>
        <c:axId val="154595712"/>
        <c:scaling>
          <c:orientation val="minMax"/>
        </c:scaling>
        <c:delete val="1"/>
        <c:axPos val="l"/>
        <c:majorGridlines/>
        <c:numFmt formatCode="General" sourceLinked="1"/>
        <c:tickLblPos val="none"/>
        <c:crossAx val="15458572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5686370219694807"/>
          <c:y val="0.39739754623695656"/>
          <c:w val="0.14103284352060444"/>
          <c:h val="0.44520087895990201"/>
        </c:manualLayout>
      </c:layout>
      <c:txPr>
        <a:bodyPr/>
        <a:lstStyle/>
        <a:p>
          <a:pPr>
            <a:defRPr>
              <a:solidFill>
                <a:schemeClr val="bg1"/>
              </a:solidFill>
            </a:defRPr>
          </a:pPr>
          <a:endParaRPr lang="ru-RU"/>
        </a:p>
      </c:txPr>
    </c:legend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style val="29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9.9687445319335141E-2"/>
          <c:y val="0"/>
          <c:w val="0.88143795830838334"/>
          <c:h val="0.89639685891926457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solidFill>
              <a:schemeClr val="bg1"/>
            </a:solidFill>
          </c:spPr>
          <c:dLbls>
            <c:dLbl>
              <c:idx val="0"/>
              <c:layout>
                <c:manualLayout>
                  <c:x val="-5.5555555555555558E-3"/>
                  <c:y val="-0.2085412581940428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94444444444444E-2"/>
                  <c:y val="-0.1344804811106230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5.5555555555556555E-3"/>
                  <c:y val="-7.3805584153192993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2400">
                      <a:solidFill>
                        <a:schemeClr val="bg1"/>
                      </a:solidFill>
                    </a:defRPr>
                  </a:pPr>
                  <a:endParaRPr lang="ru-RU"/>
                </a:p>
              </c:tx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>
                <c:manualLayout>
                  <c:x val="1.1111111111111117E-2"/>
                  <c:y val="-5.5519489745287962E-2"/>
                </c:manualLayout>
              </c:layout>
              <c:tx>
                <c:rich>
                  <a:bodyPr/>
                  <a:lstStyle/>
                  <a:p>
                    <a:pPr>
                      <a:defRPr sz="2400">
                        <a:solidFill>
                          <a:schemeClr val="bg1"/>
                        </a:solidFill>
                      </a:defRPr>
                    </a:pPr>
                    <a:r>
                      <a:rPr lang="en-US" b="0" dirty="0">
                        <a:solidFill>
                          <a:schemeClr val="bg1"/>
                        </a:solidFill>
                      </a:rPr>
                      <a:t>0,0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2400"/>
                </a:pPr>
                <a:endParaRPr lang="ru-RU"/>
              </a:p>
            </c:txPr>
            <c:showVal val="1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A$2:$A$5</c:f>
              <c:strCache>
                <c:ptCount val="4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</c:v>
                </c:pt>
                <c:pt idx="3">
                  <c:v>на 01.01.2022 г.</c:v>
                </c:pt>
              </c:strCache>
            </c:strRef>
          </c:cat>
          <c:val>
            <c:numRef>
              <c:f>Лист1!$B$2:$B$5</c:f>
              <c:numCache>
                <c:formatCode>#,##0.0</c:formatCode>
                <c:ptCount val="4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axId val="154719360"/>
        <c:axId val="154720896"/>
        <c:axId val="154594816"/>
      </c:area3DChart>
      <c:catAx>
        <c:axId val="154719360"/>
        <c:scaling>
          <c:orientation val="minMax"/>
        </c:scaling>
        <c:axPos val="b"/>
        <c:numFmt formatCode="General" sourceLinked="0"/>
        <c:tickLblPos val="nextTo"/>
        <c:txPr>
          <a:bodyPr/>
          <a:lstStyle/>
          <a:p>
            <a:pPr>
              <a:defRPr sz="2000">
                <a:solidFill>
                  <a:schemeClr val="bg1"/>
                </a:solidFill>
              </a:defRPr>
            </a:pPr>
            <a:endParaRPr lang="ru-RU"/>
          </a:p>
        </c:txPr>
        <c:crossAx val="154720896"/>
        <c:crosses val="autoZero"/>
        <c:auto val="1"/>
        <c:lblAlgn val="ctr"/>
        <c:lblOffset val="100"/>
      </c:catAx>
      <c:valAx>
        <c:axId val="154720896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54719360"/>
        <c:crosses val="autoZero"/>
        <c:crossBetween val="midCat"/>
      </c:valAx>
      <c:serAx>
        <c:axId val="154594816"/>
        <c:scaling>
          <c:orientation val="minMax"/>
        </c:scaling>
        <c:delete val="1"/>
        <c:axPos val="b"/>
        <c:tickLblPos val="none"/>
        <c:crossAx val="154720896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42367</cdr:x>
      <cdr:y>0.09802</cdr:y>
    </cdr:from>
    <cdr:to>
      <cdr:x>0.62049</cdr:x>
      <cdr:y>0.24046</cdr:y>
    </cdr:to>
    <cdr:sp macro="" textlink="">
      <cdr:nvSpPr>
        <cdr:cNvPr id="8" name="Стрелка вправо 2"/>
        <cdr:cNvSpPr/>
      </cdr:nvSpPr>
      <cdr:spPr>
        <a:xfrm xmlns:a="http://schemas.openxmlformats.org/drawingml/2006/main" rot="21039886">
          <a:off x="4264002" y="561984"/>
          <a:ext cx="1980887" cy="816645"/>
        </a:xfrm>
        <a:prstGeom xmlns:a="http://schemas.openxmlformats.org/drawingml/2006/main" prst="rightArrow">
          <a:avLst/>
        </a:prstGeom>
        <a:gradFill xmlns:a="http://schemas.openxmlformats.org/drawingml/2006/main" rotWithShape="1">
          <a:gsLst>
            <a:gs pos="0">
              <a:srgbClr val="F79646">
                <a:shade val="51000"/>
                <a:satMod val="130000"/>
              </a:srgbClr>
            </a:gs>
            <a:gs pos="80000">
              <a:srgbClr val="F79646">
                <a:shade val="93000"/>
                <a:satMod val="130000"/>
              </a:srgbClr>
            </a:gs>
            <a:gs pos="100000">
              <a:srgbClr val="F79646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6"/>
        </a:lnRef>
        <a:fillRef xmlns:a="http://schemas.openxmlformats.org/drawingml/2006/main" idx="3">
          <a:schemeClr val="accent6"/>
        </a:fillRef>
        <a:effectRef xmlns:a="http://schemas.openxmlformats.org/drawingml/2006/main" idx="3">
          <a:schemeClr val="accent6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sz="1400" dirty="0" smtClean="0"/>
            <a:t>Выросли на 110,4 млн. 6,1 %</a:t>
          </a:r>
          <a:endParaRPr lang="ru-RU" sz="1400" dirty="0"/>
        </a:p>
      </cdr:txBody>
    </cdr:sp>
  </cdr:relSizeAnchor>
  <cdr:relSizeAnchor xmlns:cdr="http://schemas.openxmlformats.org/drawingml/2006/chartDrawing">
    <cdr:from>
      <cdr:x>0.47076</cdr:x>
      <cdr:y>0.20465</cdr:y>
    </cdr:from>
    <cdr:to>
      <cdr:x>0.5666</cdr:x>
      <cdr:y>0.35886</cdr:y>
    </cdr:to>
    <cdr:sp macro="" textlink="">
      <cdr:nvSpPr>
        <cdr:cNvPr id="9" name="TextBox 8"/>
        <cdr:cNvSpPr txBox="1"/>
      </cdr:nvSpPr>
      <cdr:spPr>
        <a:xfrm xmlns:a="http://schemas.openxmlformats.org/drawingml/2006/main">
          <a:off x="4737937" y="1173295"/>
          <a:ext cx="964577" cy="88412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none" rtlCol="0"/>
        <a:lstStyle xmlns:a="http://schemas.openxmlformats.org/drawingml/2006/main"/>
        <a:p xmlns:a="http://schemas.openxmlformats.org/drawingml/2006/main">
          <a:r>
            <a:rPr lang="ru-RU" sz="1800" b="1" dirty="0" smtClean="0">
              <a:cs typeface="Times New Roman" pitchFamily="18" charset="0"/>
            </a:rPr>
            <a:t>1362,0</a:t>
          </a:r>
          <a:endParaRPr lang="ru-RU" sz="1800" b="1" dirty="0">
            <a:cs typeface="Times New Roman" pitchFamily="18" charset="0"/>
          </a:endParaRPr>
        </a:p>
      </cdr:txBody>
    </cdr:sp>
  </cdr:relSizeAnchor>
  <cdr:relSizeAnchor xmlns:cdr="http://schemas.openxmlformats.org/drawingml/2006/chartDrawing">
    <cdr:from>
      <cdr:x>0</cdr:x>
      <cdr:y>0.92737</cdr:y>
    </cdr:from>
    <cdr:to>
      <cdr:x>0.1887</cdr:x>
      <cdr:y>1</cdr:y>
    </cdr:to>
    <cdr:sp macro="" textlink="">
      <cdr:nvSpPr>
        <cdr:cNvPr id="11" name="Пятиугольник 10"/>
        <cdr:cNvSpPr/>
      </cdr:nvSpPr>
      <cdr:spPr>
        <a:xfrm xmlns:a="http://schemas.openxmlformats.org/drawingml/2006/main">
          <a:off x="-152399" y="5316850"/>
          <a:ext cx="1899162" cy="416406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3</a:t>
          </a:r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</cdr:x>
      <cdr:y>0.89789</cdr:y>
    </cdr:from>
    <cdr:to>
      <cdr:x>0.1887</cdr:x>
      <cdr:y>0.97773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0" y="4824536"/>
          <a:ext cx="1725472" cy="429043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2</a:t>
          </a:r>
          <a:endParaRPr lang="ru-RU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</cdr:x>
      <cdr:y>0.75348</cdr:y>
    </cdr:from>
    <cdr:to>
      <cdr:x>0.1887</cdr:x>
      <cdr:y>0.83725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-179512" y="4557533"/>
          <a:ext cx="1691599" cy="506697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3</a:t>
          </a:r>
          <a:endParaRPr lang="ru-RU" dirty="0"/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</cdr:x>
      <cdr:y>0.92301</cdr:y>
    </cdr:from>
    <cdr:to>
      <cdr:x>0.16863</cdr:x>
      <cdr:y>0.99926</cdr:y>
    </cdr:to>
    <cdr:sp macro="" textlink="">
      <cdr:nvSpPr>
        <cdr:cNvPr id="2" name="Пятиугольник 1"/>
        <cdr:cNvSpPr/>
      </cdr:nvSpPr>
      <cdr:spPr>
        <a:xfrm xmlns:a="http://schemas.openxmlformats.org/drawingml/2006/main">
          <a:off x="-72008" y="5040560"/>
          <a:ext cx="1578096" cy="416406"/>
        </a:xfrm>
        <a:prstGeom xmlns:a="http://schemas.openxmlformats.org/drawingml/2006/main" prst="homePlate">
          <a:avLst/>
        </a:prstGeom>
        <a:gradFill xmlns:a="http://schemas.openxmlformats.org/drawingml/2006/main" rotWithShape="1">
          <a:gsLst>
            <a:gs pos="0">
              <a:srgbClr val="00B050"/>
            </a:gs>
            <a:gs pos="80000">
              <a:srgbClr val="9BBB59">
                <a:shade val="93000"/>
                <a:satMod val="130000"/>
              </a:srgbClr>
            </a:gs>
            <a:gs pos="100000">
              <a:srgbClr val="9BBB59">
                <a:shade val="94000"/>
                <a:satMod val="135000"/>
              </a:srgbClr>
            </a:gs>
          </a:gsLst>
          <a:lin ang="16200000" scaled="0"/>
        </a:gradFill>
        <a:ln xmlns:a="http://schemas.openxmlformats.org/drawingml/2006/main">
          <a:noFill/>
        </a:ln>
        <a:effectLst xmlns:a="http://schemas.openxmlformats.org/drawingml/2006/main">
          <a:outerShdw blurRad="40000" dist="23000" dir="5400000" rotWithShape="0">
            <a:srgbClr val="000000">
              <a:alpha val="35000"/>
            </a:srgbClr>
          </a:outerShdw>
        </a:effectLst>
        <a:scene3d xmlns:a="http://schemas.openxmlformats.org/drawingml/2006/main">
          <a:camera prst="orthographicFront">
            <a:rot lat="0" lon="0" rev="0"/>
          </a:camera>
          <a:lightRig rig="threePt" dir="t">
            <a:rot lat="0" lon="0" rev="1200000"/>
          </a:lightRig>
        </a:scene3d>
        <a:sp3d xmlns:a="http://schemas.openxmlformats.org/drawingml/2006/main">
          <a:bevelT w="63500" h="25400"/>
        </a:sp3d>
      </cdr:spPr>
      <cdr:style>
        <a:lnRef xmlns:a="http://schemas.openxmlformats.org/drawingml/2006/main" idx="0">
          <a:schemeClr val="accent3"/>
        </a:lnRef>
        <a:fillRef xmlns:a="http://schemas.openxmlformats.org/drawingml/2006/main" idx="3">
          <a:schemeClr val="accent3"/>
        </a:fillRef>
        <a:effectRef xmlns:a="http://schemas.openxmlformats.org/drawingml/2006/main" idx="3">
          <a:schemeClr val="accent3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1pPr>
          <a:lvl2pPr marL="457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2pPr>
          <a:lvl3pPr marL="914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3pPr>
          <a:lvl4pPr marL="1371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4pPr>
          <a:lvl5pPr marL="18288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5pPr>
          <a:lvl6pPr marL="22860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6pPr>
          <a:lvl7pPr marL="27432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7pPr>
          <a:lvl8pPr marL="32004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8pPr>
          <a:lvl9pPr marL="3657600" algn="l" defTabSz="914400" rtl="0" eaLnBrk="1" latinLnBrk="0" hangingPunct="1">
            <a:defRPr sz="1800" kern="1200">
              <a:solidFill>
                <a:sysClr val="window" lastClr="FFFFFF"/>
              </a:solidFill>
              <a:latin typeface="Calibri"/>
            </a:defRPr>
          </a:lvl9pPr>
        </a:lstStyle>
        <a:p xmlns:a="http://schemas.openxmlformats.org/drawingml/2006/main">
          <a:pPr algn="ctr"/>
          <a:r>
            <a:rPr lang="ru-RU" dirty="0" smtClean="0"/>
            <a:t>17</a:t>
          </a:r>
          <a:endParaRPr lang="ru-RU" dirty="0"/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1171467-B212-4FC9-AD01-B25BFED8F061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1168D3-4BD9-471F-B3D1-EA8463DBFCA3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0986921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2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83536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5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86509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6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5019780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7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25019780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8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578535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0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056541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1</a:t>
            </a:fld>
            <a:endParaRPr lang="ru-RU" smtClean="0"/>
          </a:p>
        </p:txBody>
      </p:sp>
    </p:spTree>
    <p:extLst>
      <p:ext uri="{BB962C8B-B14F-4D97-AF65-F5344CB8AC3E}">
        <p14:creationId xmlns="" xmlns:p14="http://schemas.microsoft.com/office/powerpoint/2010/main" val="38932440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33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dirty="0" smtClean="0"/>
          </a:p>
        </p:txBody>
      </p:sp>
      <p:sp>
        <p:nvSpPr>
          <p:cNvPr id="1434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fld id="{D9DD341B-4A52-462E-B03A-AFE3F3BDDC8C}" type="slidenum">
              <a:rPr lang="ru-RU" smtClean="0"/>
              <a:pPr/>
              <a:t>16</a:t>
            </a:fld>
            <a:endParaRPr lang="ru-RU" dirty="0" smtClean="0"/>
          </a:p>
        </p:txBody>
      </p:sp>
    </p:spTree>
    <p:extLst>
      <p:ext uri="{BB962C8B-B14F-4D97-AF65-F5344CB8AC3E}">
        <p14:creationId xmlns="" xmlns:p14="http://schemas.microsoft.com/office/powerpoint/2010/main" val="190751418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C1168D3-4BD9-471F-B3D1-EA8463DBFCA3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8022076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7813"/>
            <a:ext cx="8229600" cy="585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E3B98A-FF11-4031-A855-D1BAD7C3087B}" type="datetimeFigureOut">
              <a:rPr lang="ru-RU"/>
              <a:pPr>
                <a:defRPr/>
              </a:pPr>
              <a:t>16.05.2022</a:t>
            </a:fld>
            <a:endParaRPr lang="ru-RU" alt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94D775-D6FA-4939-AF0E-878F5B113584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dgm">
  <p:cSld name="Заголовок, схема или организационн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SmartArt 2"/>
          <p:cNvSpPr>
            <a:spLocks noGrp="1"/>
          </p:cNvSpPr>
          <p:nvPr>
            <p:ph type="dgm" idx="1"/>
          </p:nvPr>
        </p:nvSpPr>
        <p:spPr>
          <a:xfrm>
            <a:off x="457200" y="1600200"/>
            <a:ext cx="8229600" cy="4530725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B26132-86D2-4E5A-9C91-4D0F51D4F7A4}" type="datetimeFigureOut">
              <a:rPr lang="ru-RU"/>
              <a:pPr>
                <a:defRPr/>
              </a:pPr>
              <a:t>16.05.2022</a:t>
            </a:fld>
            <a:endParaRPr lang="ru-RU" altLang="en-US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alt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04E77B-3503-42A3-A839-A9C857E683D6}" type="slidenum">
              <a:rPr lang="ru-RU" altLang="en-US"/>
              <a:pPr>
                <a:defRPr/>
              </a:pPr>
              <a:t>‹#›</a:t>
            </a:fld>
            <a:endParaRPr lang="ru-RU" altLang="en-US" dirty="0"/>
          </a:p>
        </p:txBody>
      </p:sp>
    </p:spTree>
  </p:cSld>
  <p:clrMapOvr>
    <a:masterClrMapping/>
  </p:clrMapOvr>
  <p:transition spd="med">
    <p:circl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 cstate="print">
            <a:lum/>
          </a:blip>
          <a:srcRect/>
          <a:stretch>
            <a:fillRect l="-17000" r="-17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85400-0965-4F83-A510-9B43FF230F53}" type="datetimeFigureOut">
              <a:rPr lang="ru-RU" smtClean="0"/>
              <a:pPr/>
              <a:t>16.05.2022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43C267-AD3F-467A-A7B5-3E9DDC2B07EC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5" Type="http://schemas.openxmlformats.org/officeDocument/2006/relationships/chart" Target="../charts/chart8.xml"/><Relationship Id="rId4" Type="http://schemas.openxmlformats.org/officeDocument/2006/relationships/image" Target="../media/image4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5" Type="http://schemas.openxmlformats.org/officeDocument/2006/relationships/image" Target="../media/image4.png"/><Relationship Id="rId4" Type="http://schemas.openxmlformats.org/officeDocument/2006/relationships/chart" Target="../charts/char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4.png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809A3396-556F-2275-FE2C-D34CCA138D8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Rectangle 51"/>
          <p:cNvSpPr>
            <a:spLocks noChangeArrowheads="1"/>
          </p:cNvSpPr>
          <p:nvPr/>
        </p:nvSpPr>
        <p:spPr bwMode="auto">
          <a:xfrm>
            <a:off x="-42296" y="1772816"/>
            <a:ext cx="5256584" cy="259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ОТЧЕТ ОБ ИСПОЛНЕНИИ БЮДЖЕТА ГОРОДА-КУРОРТА </a:t>
            </a: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ЖЕЛЕЗНОВОДСКА СТАВРОПОЛЬСКОГО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РАЯ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ЗА 202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1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ГОД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14" name="Rectangle 51"/>
          <p:cNvSpPr>
            <a:spLocks noChangeArrowheads="1"/>
          </p:cNvSpPr>
          <p:nvPr/>
        </p:nvSpPr>
        <p:spPr bwMode="auto">
          <a:xfrm>
            <a:off x="4283968" y="5034788"/>
            <a:ext cx="50898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</a:t>
            </a: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ФИНАНСОВОЕ УПРАВЛЕНИЕ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АДМИНИСТРАЦИИ </a:t>
            </a:r>
          </a:p>
          <a:p>
            <a:pPr algn="ctr">
              <a:defRPr/>
            </a:pP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ГОРОДА-КУРОРТА </a:t>
            </a:r>
            <a:r>
              <a:rPr lang="ru-RU" b="1" dirty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ЖЕЛЕЗНОВОДСКА СТАВРОПОЛЬСКОГО </a:t>
            </a:r>
            <a:r>
              <a:rPr lang="ru-RU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РАЯ</a:t>
            </a:r>
            <a:endParaRPr lang="ru-RU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4195645814"/>
              </p:ext>
            </p:extLst>
          </p:nvPr>
        </p:nvGraphicFramePr>
        <p:xfrm>
          <a:off x="0" y="1460978"/>
          <a:ext cx="9144002" cy="5032591"/>
        </p:xfrm>
        <a:graphic>
          <a:graphicData uri="http://schemas.openxmlformats.org/drawingml/2006/table">
            <a:tbl>
              <a:tblPr firstRow="1" bandRow="1">
                <a:effectLst/>
                <a:tableStyleId>{5C22544A-7EE6-4342-B048-85BDC9FD1C3A}</a:tableStyleId>
              </a:tblPr>
              <a:tblGrid>
                <a:gridCol w="4946755"/>
                <a:gridCol w="1353437"/>
                <a:gridCol w="1224136"/>
                <a:gridCol w="1619674"/>
              </a:tblGrid>
              <a:tr h="893542">
                <a:tc>
                  <a:txBody>
                    <a:bodyPr/>
                    <a:lstStyle/>
                    <a:p>
                      <a:pPr algn="ctr"/>
                      <a:endParaRPr lang="ru-RU" sz="1600" dirty="0" smtClean="0">
                        <a:solidFill>
                          <a:schemeClr val="bg1"/>
                        </a:solidFill>
                      </a:endParaRPr>
                    </a:p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Категории работников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Достигнутый уровень в 2020 году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Запланированный уровень на 2021 год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Достигнутый уровень в 2021 году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92825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образовательных учреждений общего образования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6 030,83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5 963,2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9 522,91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854939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работники дошкольных образовательных учреждений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5 686,88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7 443,82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7 957,5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94978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детей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7 021,15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232,68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805,9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430224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Работники учреждений культуры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4 485,2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6 250,6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6 313,1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992825"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solidFill>
                            <a:schemeClr val="bg1"/>
                          </a:solidFill>
                        </a:rPr>
                        <a:t>Педагогические работники учреждений дополнительного образования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</a:rPr>
                        <a:t> детей в сфере культуры</a:t>
                      </a:r>
                      <a:endParaRPr lang="ru-RU" sz="18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27 020,2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232,68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solidFill>
                            <a:schemeClr val="bg1"/>
                          </a:solidFill>
                        </a:rPr>
                        <a:t>30 414,60</a:t>
                      </a:r>
                      <a:endParaRPr lang="ru-RU" sz="20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pic>
        <p:nvPicPr>
          <p:cNvPr id="5" name="Picture 5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16632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Прямоугольник 2"/>
          <p:cNvSpPr>
            <a:spLocks noChangeArrowheads="1"/>
          </p:cNvSpPr>
          <p:nvPr/>
        </p:nvSpPr>
        <p:spPr bwMode="auto">
          <a:xfrm>
            <a:off x="457200" y="260648"/>
            <a:ext cx="8686800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РЕДНИЙ УРОВЕНЬ ЗАРАБОТНОЙ ПЛАТЫ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О ОТДЕЛЬНЫМ КАТЕГОРИЯМ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БОТНИКОВ БЮДЖЕТНОЙ СФЕРЫ</a:t>
            </a:r>
          </a:p>
        </p:txBody>
      </p:sp>
      <p:sp>
        <p:nvSpPr>
          <p:cNvPr id="10" name="Пятиугольник 9"/>
          <p:cNvSpPr/>
          <p:nvPr/>
        </p:nvSpPr>
        <p:spPr>
          <a:xfrm>
            <a:off x="0" y="6453336"/>
            <a:ext cx="1829616" cy="404664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9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8172400" y="6488668"/>
            <a:ext cx="5990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18" name="Прямоугольник 17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Text Box 11"/>
          <p:cNvSpPr txBox="1">
            <a:spLocks noChangeArrowheads="1"/>
          </p:cNvSpPr>
          <p:nvPr/>
        </p:nvSpPr>
        <p:spPr bwMode="auto">
          <a:xfrm>
            <a:off x="7812360" y="116632"/>
            <a:ext cx="1152525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</a:pPr>
            <a:endParaRPr lang="ru-RU" sz="1400" b="1" i="1" dirty="0">
              <a:latin typeface="Times New Roman" pitchFamily="18" charset="0"/>
            </a:endParaRPr>
          </a:p>
        </p:txBody>
      </p:sp>
      <p:graphicFrame>
        <p:nvGraphicFramePr>
          <p:cNvPr id="11" name="Диаграмма 10"/>
          <p:cNvGraphicFramePr/>
          <p:nvPr>
            <p:extLst>
              <p:ext uri="{D42A27DB-BD31-4B8C-83A1-F6EECF244321}">
                <p14:modId xmlns="" xmlns:p14="http://schemas.microsoft.com/office/powerpoint/2010/main" val="3430521604"/>
              </p:ext>
            </p:extLst>
          </p:nvPr>
        </p:nvGraphicFramePr>
        <p:xfrm>
          <a:off x="-324544" y="1412776"/>
          <a:ext cx="9468544" cy="49609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2" name="Picture 5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79512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Выгнутая вверх стрелка 12"/>
          <p:cNvSpPr/>
          <p:nvPr/>
        </p:nvSpPr>
        <p:spPr>
          <a:xfrm rot="666969">
            <a:off x="2130517" y="1512729"/>
            <a:ext cx="2112778" cy="769303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28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4" name="Выгнутая вверх стрелка 13"/>
          <p:cNvSpPr/>
          <p:nvPr/>
        </p:nvSpPr>
        <p:spPr>
          <a:xfrm rot="2024846">
            <a:off x="4441340" y="2174876"/>
            <a:ext cx="2466729" cy="796298"/>
          </a:xfrm>
          <a:prstGeom prst="curvedDownArrow">
            <a:avLst/>
          </a:prstGeom>
          <a:solidFill>
            <a:schemeClr val="tx2">
              <a:lumMod val="60000"/>
              <a:lumOff val="40000"/>
            </a:schemeClr>
          </a:solidFill>
          <a:ln>
            <a:solidFill>
              <a:srgbClr val="0033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225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5" name="Выгнутая вниз стрелка 14"/>
          <p:cNvSpPr/>
          <p:nvPr/>
        </p:nvSpPr>
        <p:spPr>
          <a:xfrm>
            <a:off x="2285984" y="5572140"/>
            <a:ext cx="1643074" cy="305132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3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6" name="Выгнутая вниз стрелка 15"/>
          <p:cNvSpPr/>
          <p:nvPr/>
        </p:nvSpPr>
        <p:spPr>
          <a:xfrm>
            <a:off x="4286248" y="5572140"/>
            <a:ext cx="1653904" cy="305132"/>
          </a:xfrm>
          <a:prstGeom prst="curvedUpArrow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-13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074" name="Прямоугольник 2"/>
          <p:cNvSpPr>
            <a:spLocks noChangeArrowheads="1"/>
          </p:cNvSpPr>
          <p:nvPr/>
        </p:nvSpPr>
        <p:spPr bwMode="auto">
          <a:xfrm>
            <a:off x="840483" y="421432"/>
            <a:ext cx="770485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ОФИНАНСИРОВАНИЕ СУБСИДИЙ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104144" y="6309320"/>
            <a:ext cx="1725472" cy="432048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0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29699" name="Picture 4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9701" name="AutoShape 9"/>
          <p:cNvSpPr>
            <a:spLocks noChangeArrowheads="1"/>
          </p:cNvSpPr>
          <p:nvPr/>
        </p:nvSpPr>
        <p:spPr bwMode="auto">
          <a:xfrm>
            <a:off x="4211960" y="2564904"/>
            <a:ext cx="1447800" cy="12954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1 690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38" name="AutoShape 10"/>
          <p:cNvSpPr>
            <a:spLocks noChangeArrowheads="1"/>
          </p:cNvSpPr>
          <p:nvPr/>
        </p:nvSpPr>
        <p:spPr bwMode="auto">
          <a:xfrm>
            <a:off x="4211960" y="4077072"/>
            <a:ext cx="1447800" cy="909638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52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05" name="AutoShape 11"/>
          <p:cNvSpPr>
            <a:spLocks/>
          </p:cNvSpPr>
          <p:nvPr/>
        </p:nvSpPr>
        <p:spPr bwMode="auto">
          <a:xfrm>
            <a:off x="3851920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6" name="AutoShape 12"/>
          <p:cNvSpPr>
            <a:spLocks/>
          </p:cNvSpPr>
          <p:nvPr/>
        </p:nvSpPr>
        <p:spPr bwMode="auto">
          <a:xfrm>
            <a:off x="3923928" y="4437112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09" name="Text Box 17"/>
          <p:cNvSpPr txBox="1">
            <a:spLocks noChangeArrowheads="1"/>
          </p:cNvSpPr>
          <p:nvPr/>
        </p:nvSpPr>
        <p:spPr bwMode="auto">
          <a:xfrm>
            <a:off x="2987824" y="3068960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1,7 </a:t>
            </a:r>
            <a:r>
              <a:rPr lang="ru-RU" sz="1600" b="1" dirty="0"/>
              <a:t>%</a:t>
            </a:r>
          </a:p>
        </p:txBody>
      </p:sp>
      <p:sp>
        <p:nvSpPr>
          <p:cNvPr id="29710" name="Text Box 18"/>
          <p:cNvSpPr txBox="1">
            <a:spLocks noChangeArrowheads="1"/>
          </p:cNvSpPr>
          <p:nvPr/>
        </p:nvSpPr>
        <p:spPr bwMode="auto">
          <a:xfrm>
            <a:off x="3059832" y="4509120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8,3 </a:t>
            </a:r>
            <a:r>
              <a:rPr lang="en-US" sz="1600" b="1" dirty="0" smtClean="0"/>
              <a:t>%</a:t>
            </a:r>
            <a:endParaRPr lang="ru-RU" sz="1600" b="1" dirty="0"/>
          </a:p>
        </p:txBody>
      </p:sp>
      <p:sp>
        <p:nvSpPr>
          <p:cNvPr id="29711" name="Содержимое 5"/>
          <p:cNvSpPr>
            <a:spLocks/>
          </p:cNvSpPr>
          <p:nvPr/>
        </p:nvSpPr>
        <p:spPr bwMode="auto">
          <a:xfrm>
            <a:off x="6948264" y="1844824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21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2" name="Содержимое 5"/>
          <p:cNvSpPr>
            <a:spLocks/>
          </p:cNvSpPr>
          <p:nvPr/>
        </p:nvSpPr>
        <p:spPr bwMode="auto">
          <a:xfrm>
            <a:off x="1403648" y="1916832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19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9713" name="AutoShape 23"/>
          <p:cNvSpPr>
            <a:spLocks noChangeArrowheads="1"/>
          </p:cNvSpPr>
          <p:nvPr/>
        </p:nvSpPr>
        <p:spPr bwMode="auto">
          <a:xfrm>
            <a:off x="7092280" y="2420888"/>
            <a:ext cx="1447800" cy="142876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1 698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7352" name="AutoShape 24"/>
          <p:cNvSpPr>
            <a:spLocks noChangeArrowheads="1"/>
          </p:cNvSpPr>
          <p:nvPr/>
        </p:nvSpPr>
        <p:spPr bwMode="auto">
          <a:xfrm>
            <a:off x="7092280" y="4005064"/>
            <a:ext cx="1447800" cy="981076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39 </a:t>
            </a:r>
            <a:r>
              <a:rPr lang="ru-RU" sz="1500" b="1" dirty="0"/>
              <a:t>млн. рублей</a:t>
            </a:r>
          </a:p>
        </p:txBody>
      </p:sp>
      <p:sp>
        <p:nvSpPr>
          <p:cNvPr id="29718" name="Text Box 26"/>
          <p:cNvSpPr txBox="1">
            <a:spLocks noChangeArrowheads="1"/>
          </p:cNvSpPr>
          <p:nvPr/>
        </p:nvSpPr>
        <p:spPr bwMode="auto">
          <a:xfrm>
            <a:off x="5868144" y="3140968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2,4 </a:t>
            </a:r>
            <a:r>
              <a:rPr lang="ru-RU" sz="1600" b="1" dirty="0"/>
              <a:t>%</a:t>
            </a:r>
          </a:p>
        </p:txBody>
      </p:sp>
      <p:sp>
        <p:nvSpPr>
          <p:cNvPr id="29719" name="AutoShape 27"/>
          <p:cNvSpPr>
            <a:spLocks/>
          </p:cNvSpPr>
          <p:nvPr/>
        </p:nvSpPr>
        <p:spPr bwMode="auto">
          <a:xfrm>
            <a:off x="6804248" y="4437112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9720" name="Text Box 28"/>
          <p:cNvSpPr txBox="1">
            <a:spLocks noChangeArrowheads="1"/>
          </p:cNvSpPr>
          <p:nvPr/>
        </p:nvSpPr>
        <p:spPr bwMode="auto">
          <a:xfrm>
            <a:off x="5940152" y="4509120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7,6%</a:t>
            </a:r>
            <a:endParaRPr lang="ru-RU" sz="1600" b="1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1475656" y="2564904"/>
            <a:ext cx="1447800" cy="12954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000" b="1" dirty="0" smtClean="0"/>
              <a:t>1 655 </a:t>
            </a:r>
            <a:r>
              <a:rPr lang="ru-RU" sz="1500" b="1" dirty="0" smtClean="0"/>
              <a:t>млн</a:t>
            </a:r>
            <a:r>
              <a:rPr lang="ru-RU" sz="1500" b="1" dirty="0"/>
              <a:t>. рублей</a:t>
            </a:r>
          </a:p>
          <a:p>
            <a:pPr algn="ctr"/>
            <a:endParaRPr lang="ru-RU" sz="1500" b="1" dirty="0"/>
          </a:p>
        </p:txBody>
      </p:sp>
      <p:sp>
        <p:nvSpPr>
          <p:cNvPr id="22" name="AutoShape 11"/>
          <p:cNvSpPr>
            <a:spLocks/>
          </p:cNvSpPr>
          <p:nvPr/>
        </p:nvSpPr>
        <p:spPr bwMode="auto">
          <a:xfrm>
            <a:off x="1115616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3" name="Text Box 17"/>
          <p:cNvSpPr txBox="1">
            <a:spLocks noChangeArrowheads="1"/>
          </p:cNvSpPr>
          <p:nvPr/>
        </p:nvSpPr>
        <p:spPr bwMode="auto">
          <a:xfrm>
            <a:off x="251520" y="3068960"/>
            <a:ext cx="838200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92,3 </a:t>
            </a:r>
            <a:r>
              <a:rPr lang="ru-RU" sz="1600" b="1" dirty="0"/>
              <a:t>%</a:t>
            </a:r>
          </a:p>
        </p:txBody>
      </p:sp>
      <p:sp>
        <p:nvSpPr>
          <p:cNvPr id="24" name="Содержимое 5"/>
          <p:cNvSpPr>
            <a:spLocks/>
          </p:cNvSpPr>
          <p:nvPr/>
        </p:nvSpPr>
        <p:spPr bwMode="auto">
          <a:xfrm>
            <a:off x="4067944" y="1916832"/>
            <a:ext cx="16764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algn="ctr">
              <a:spcBef>
                <a:spcPct val="20000"/>
              </a:spcBef>
              <a:buClr>
                <a:schemeClr val="accent1"/>
              </a:buClr>
              <a:buSzPct val="65000"/>
              <a:buFont typeface="Wingdings" pitchFamily="2" charset="2"/>
              <a:buNone/>
            </a:pPr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2020 </a:t>
            </a:r>
            <a:r>
              <a:rPr lang="ru-RU" sz="19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год</a:t>
            </a:r>
          </a:p>
        </p:txBody>
      </p:sp>
      <p:sp>
        <p:nvSpPr>
          <p:cNvPr id="25" name="AutoShape 10"/>
          <p:cNvSpPr>
            <a:spLocks noChangeArrowheads="1"/>
          </p:cNvSpPr>
          <p:nvPr/>
        </p:nvSpPr>
        <p:spPr bwMode="auto">
          <a:xfrm>
            <a:off x="1475656" y="4221088"/>
            <a:ext cx="1447800" cy="838200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2000" b="1" dirty="0" smtClean="0"/>
              <a:t>139 </a:t>
            </a:r>
            <a:r>
              <a:rPr lang="ru-RU" sz="1500" b="1" dirty="0"/>
              <a:t>млн. рублей</a:t>
            </a:r>
          </a:p>
        </p:txBody>
      </p:sp>
      <p:sp>
        <p:nvSpPr>
          <p:cNvPr id="26" name="AutoShape 12"/>
          <p:cNvSpPr>
            <a:spLocks/>
          </p:cNvSpPr>
          <p:nvPr/>
        </p:nvSpPr>
        <p:spPr bwMode="auto">
          <a:xfrm>
            <a:off x="1115616" y="4509120"/>
            <a:ext cx="152400" cy="487363"/>
          </a:xfrm>
          <a:prstGeom prst="leftBrace">
            <a:avLst>
              <a:gd name="adj1" fmla="val 26649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27" name="Text Box 18"/>
          <p:cNvSpPr txBox="1">
            <a:spLocks noChangeArrowheads="1"/>
          </p:cNvSpPr>
          <p:nvPr/>
        </p:nvSpPr>
        <p:spPr bwMode="auto">
          <a:xfrm>
            <a:off x="251520" y="4581128"/>
            <a:ext cx="809625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ru-RU" sz="1600" b="1" dirty="0" smtClean="0"/>
              <a:t>7,7 %</a:t>
            </a:r>
            <a:endParaRPr lang="ru-RU" sz="1600" b="1" dirty="0"/>
          </a:p>
        </p:txBody>
      </p:sp>
      <p:sp>
        <p:nvSpPr>
          <p:cNvPr id="28" name="AutoShape 9"/>
          <p:cNvSpPr>
            <a:spLocks noChangeArrowheads="1"/>
          </p:cNvSpPr>
          <p:nvPr/>
        </p:nvSpPr>
        <p:spPr bwMode="auto">
          <a:xfrm>
            <a:off x="1547664" y="5229200"/>
            <a:ext cx="6715172" cy="642942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66FF"/>
              </a:gs>
              <a:gs pos="100000">
                <a:schemeClr val="bg1"/>
              </a:gs>
            </a:gsLst>
            <a:path path="rect">
              <a:fillToRect r="100000" b="100000"/>
            </a:path>
          </a:gra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r>
              <a:rPr lang="ru-RU" sz="2400" b="1" dirty="0" smtClean="0"/>
              <a:t>Муниципальные программы</a:t>
            </a:r>
            <a:endParaRPr lang="ru-RU" sz="2400" b="1" dirty="0"/>
          </a:p>
        </p:txBody>
      </p:sp>
      <p:sp>
        <p:nvSpPr>
          <p:cNvPr id="29" name="AutoShape 10"/>
          <p:cNvSpPr>
            <a:spLocks noChangeArrowheads="1"/>
          </p:cNvSpPr>
          <p:nvPr/>
        </p:nvSpPr>
        <p:spPr bwMode="auto">
          <a:xfrm>
            <a:off x="1547664" y="6021288"/>
            <a:ext cx="6786610" cy="642942"/>
          </a:xfrm>
          <a:prstGeom prst="cube">
            <a:avLst>
              <a:gd name="adj" fmla="val 25000"/>
            </a:avLst>
          </a:prstGeom>
          <a:gradFill rotWithShape="1">
            <a:gsLst>
              <a:gs pos="0">
                <a:srgbClr val="009900">
                  <a:gamma/>
                  <a:shade val="46275"/>
                  <a:invGamma/>
                </a:srgbClr>
              </a:gs>
              <a:gs pos="50000">
                <a:srgbClr val="009900">
                  <a:alpha val="50000"/>
                </a:srgbClr>
              </a:gs>
              <a:gs pos="100000">
                <a:srgbClr val="009900">
                  <a:gamma/>
                  <a:shade val="46275"/>
                  <a:invGamma/>
                </a:srgbClr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ru-RU" sz="2400" b="1" dirty="0" smtClean="0"/>
              <a:t>Непрограммные направления</a:t>
            </a:r>
            <a:endParaRPr lang="ru-RU" sz="2400" b="1" dirty="0"/>
          </a:p>
        </p:txBody>
      </p:sp>
      <p:sp>
        <p:nvSpPr>
          <p:cNvPr id="169988" name="Text Box 4"/>
          <p:cNvSpPr txBox="1">
            <a:spLocks noChangeArrowheads="1"/>
          </p:cNvSpPr>
          <p:nvPr/>
        </p:nvSpPr>
        <p:spPr bwMode="auto">
          <a:xfrm>
            <a:off x="401985" y="328283"/>
            <a:ext cx="8424936" cy="9571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lnSpc>
                <a:spcPts val="2880"/>
              </a:lnSpc>
              <a:spcBef>
                <a:spcPct val="5000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РОГРАММНЫЕ И НЕПРОГРАММНЫЕ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РАСХОДЫ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lnSpc>
                <a:spcPts val="2880"/>
              </a:lnSpc>
              <a:spcBef>
                <a:spcPct val="5000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2019 -2021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ах</a:t>
            </a:r>
          </a:p>
        </p:txBody>
      </p:sp>
      <p:sp>
        <p:nvSpPr>
          <p:cNvPr id="29717" name="AutoShape 25"/>
          <p:cNvSpPr>
            <a:spLocks/>
          </p:cNvSpPr>
          <p:nvPr/>
        </p:nvSpPr>
        <p:spPr bwMode="auto">
          <a:xfrm>
            <a:off x="6732240" y="2636912"/>
            <a:ext cx="152400" cy="1219200"/>
          </a:xfrm>
          <a:prstGeom prst="leftBrace">
            <a:avLst>
              <a:gd name="adj1" fmla="val 66667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31" name="Пятиугольник 30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</a:t>
            </a:r>
            <a:endParaRPr lang="ru-RU" dirty="0"/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9512" y="116632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="" xmlns:p14="http://schemas.microsoft.com/office/powerpoint/2010/main" val="1688283949"/>
              </p:ext>
            </p:extLst>
          </p:nvPr>
        </p:nvGraphicFramePr>
        <p:xfrm>
          <a:off x="107504" y="1179512"/>
          <a:ext cx="9144000" cy="5678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179512" y="242887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ЗРЕЗЕ 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МУНИЦИПАЛЬНЫХ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РОГРАММ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за 201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9-20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2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1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ы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8772" y="14878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9" name="Диаграмма 8"/>
          <p:cNvGraphicFramePr/>
          <p:nvPr>
            <p:extLst>
              <p:ext uri="{D42A27DB-BD31-4B8C-83A1-F6EECF244321}">
                <p14:modId xmlns="" xmlns:p14="http://schemas.microsoft.com/office/powerpoint/2010/main" val="2330938830"/>
              </p:ext>
            </p:extLst>
          </p:nvPr>
        </p:nvGraphicFramePr>
        <p:xfrm>
          <a:off x="179512" y="1700808"/>
          <a:ext cx="8964488" cy="60486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366266" y="291456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</a:t>
            </a: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РАЗРЕЗЕ 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ОТРАСЛЕЙ ЭКОНОМИКИ за 2019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-20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21</a:t>
            </a:r>
            <a:r>
              <a:rPr lang="en-US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годы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4101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6922" y="203876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9746" name="Rectangle 2"/>
          <p:cNvSpPr>
            <a:spLocks noChangeArrowheads="1"/>
          </p:cNvSpPr>
          <p:nvPr/>
        </p:nvSpPr>
        <p:spPr bwMode="auto">
          <a:xfrm>
            <a:off x="226616" y="201811"/>
            <a:ext cx="8496300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ИСПОЛНЕНИЕ РАСХОДОВ </a:t>
            </a: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на реализацию федеральных (национальных) проектов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31056" y="1897961"/>
            <a:ext cx="4896544" cy="648072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Культура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31056" y="2762057"/>
            <a:ext cx="5544616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Демография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31056" y="3842177"/>
            <a:ext cx="5616624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Экология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31056" y="4922297"/>
            <a:ext cx="6984776" cy="640138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Национальный проект «Жилье и городская среда»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703664" y="1969969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7,5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207720" y="2834065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72,1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423744" y="3842177"/>
            <a:ext cx="172819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1,1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575872" y="4922297"/>
            <a:ext cx="1368152" cy="576064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 algn="ctr">
              <a:lnSpc>
                <a:spcPts val="1400"/>
              </a:lnSpc>
            </a:pPr>
            <a:r>
              <a:rPr lang="ru-RU" sz="2400" b="1" dirty="0" smtClean="0">
                <a:solidFill>
                  <a:schemeClr val="bg1"/>
                </a:solidFill>
              </a:rPr>
              <a:t>45,1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17" name="Пятиугольник 16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12" name="Picture 5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07504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Скругленный прямоугольник 12"/>
          <p:cNvSpPr/>
          <p:nvPr/>
        </p:nvSpPr>
        <p:spPr>
          <a:xfrm>
            <a:off x="683568" y="1916832"/>
            <a:ext cx="7992888" cy="180020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ализовано 4 проекта стоимостью 10,58 млн.руб., </a:t>
            </a:r>
          </a:p>
          <a:p>
            <a:pPr algn="ctr"/>
            <a:r>
              <a:rPr lang="ru-RU" sz="2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том числе:</a:t>
            </a:r>
          </a:p>
          <a:p>
            <a:pPr>
              <a:buFont typeface="Wingdings" pitchFamily="2" charset="2"/>
              <a:buChar char="Ø"/>
            </a:pPr>
            <a:r>
              <a:rPr lang="ru-RU" sz="2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краевой бюджет – 6,92 млн. руб.,</a:t>
            </a:r>
          </a:p>
          <a:p>
            <a:pPr>
              <a:buFont typeface="Wingdings" pitchFamily="2" charset="2"/>
              <a:buChar char="Ø"/>
            </a:pPr>
            <a:r>
              <a:rPr lang="ru-RU" sz="2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 города- 2,42 млн. руб.,</a:t>
            </a:r>
          </a:p>
          <a:p>
            <a:pPr>
              <a:buFont typeface="Wingdings" pitchFamily="2" charset="2"/>
              <a:buChar char="Ø"/>
            </a:pPr>
            <a:r>
              <a:rPr lang="ru-RU" sz="22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нициативные платежи – 1,24 млн.руб.</a:t>
            </a:r>
            <a:endParaRPr lang="ru-RU" sz="2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23528" y="3861048"/>
            <a:ext cx="3960440" cy="115212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бустройство спортивной площадки в районе домов по улице Карла Маркса, 14 и по улице Чапаева, 24 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4499992" y="4005064"/>
            <a:ext cx="4320480" cy="936104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бустройство детской площадки в районе дома 110,118 по улице Ленина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323528" y="5159116"/>
            <a:ext cx="4000528" cy="108012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монт проезжей части автомобильной дороги в жилом районе х. Роза Люксембург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572000" y="5085184"/>
            <a:ext cx="4248472" cy="15121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монт участка автомобильной дороги «Подъезд к жилому району х. Розы Люксембург по улице Монастырская»</a:t>
            </a:r>
            <a:endParaRPr lang="ru-RU" sz="20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74" name="Прямоугольник 2"/>
          <p:cNvSpPr>
            <a:spLocks noChangeArrowheads="1"/>
          </p:cNvSpPr>
          <p:nvPr/>
        </p:nvSpPr>
        <p:spPr bwMode="auto">
          <a:xfrm>
            <a:off x="791580" y="346507"/>
            <a:ext cx="756084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ПОДДЕРЖКА МЕСТНЫХ ИНИЦИАТИВ</a:t>
            </a:r>
          </a:p>
        </p:txBody>
      </p:sp>
      <p:sp>
        <p:nvSpPr>
          <p:cNvPr id="20" name="Пятиугольник 19"/>
          <p:cNvSpPr/>
          <p:nvPr/>
        </p:nvSpPr>
        <p:spPr>
          <a:xfrm>
            <a:off x="53905" y="64015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5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6" name="Скругленный прямоугольник 5"/>
          <p:cNvSpPr/>
          <p:nvPr/>
        </p:nvSpPr>
        <p:spPr>
          <a:xfrm>
            <a:off x="1285852" y="1785926"/>
            <a:ext cx="5688632" cy="10801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3275856" y="3429000"/>
            <a:ext cx="5256584" cy="10801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691680" y="5013176"/>
            <a:ext cx="6336704" cy="1080120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Rectangle 26"/>
          <p:cNvSpPr>
            <a:spLocks noChangeArrowheads="1"/>
          </p:cNvSpPr>
          <p:nvPr/>
        </p:nvSpPr>
        <p:spPr bwMode="auto">
          <a:xfrm>
            <a:off x="971600" y="1772816"/>
            <a:ext cx="5400600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/>
            <a:r>
              <a:rPr lang="ru-RU" sz="3200" b="1" dirty="0" smtClean="0">
                <a:latin typeface="Times New Roman" pitchFamily="18" charset="0"/>
              </a:rPr>
              <a:t>        ДОРОЖНЫЙ ФОНД</a:t>
            </a:r>
          </a:p>
          <a:p>
            <a:pPr algn="ctr" eaLnBrk="0" hangingPunct="0"/>
            <a:r>
              <a:rPr lang="ru-RU" sz="3200" b="1" dirty="0" smtClean="0">
                <a:latin typeface="Times New Roman" pitchFamily="18" charset="0"/>
              </a:rPr>
              <a:t>     89,4 млн. рублей</a:t>
            </a:r>
            <a:endParaRPr lang="ru-RU" sz="3200" b="1" dirty="0">
              <a:latin typeface="Times New Roman" pitchFamily="18" charset="0"/>
            </a:endParaRPr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3419872" y="3429001"/>
            <a:ext cx="5184576" cy="1138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>49,1 </a:t>
            </a:r>
            <a:r>
              <a:rPr lang="ru-RU" sz="2200" b="1" dirty="0" smtClean="0">
                <a:latin typeface="Times New Roman" pitchFamily="18" charset="0"/>
              </a:rPr>
              <a:t>млн. рублей на ремонт  </a:t>
            </a:r>
            <a:r>
              <a:rPr lang="en-US" sz="2200" b="1" dirty="0" smtClean="0">
                <a:latin typeface="Times New Roman" pitchFamily="18" charset="0"/>
              </a:rPr>
              <a:t>                 17 </a:t>
            </a:r>
            <a:r>
              <a:rPr lang="ru-RU" sz="2200" b="1" dirty="0" smtClean="0">
                <a:latin typeface="Times New Roman" pitchFamily="18" charset="0"/>
              </a:rPr>
              <a:t>автомобильных дорог общего пользования местного значения</a:t>
            </a:r>
            <a:endParaRPr lang="ru-RU" sz="2200" b="1" dirty="0">
              <a:latin typeface="Times New Roman" pitchFamily="18" charset="0"/>
            </a:endParaRPr>
          </a:p>
        </p:txBody>
      </p:sp>
      <p:sp>
        <p:nvSpPr>
          <p:cNvPr id="12" name="Text Box 11"/>
          <p:cNvSpPr txBox="1">
            <a:spLocks noChangeArrowheads="1"/>
          </p:cNvSpPr>
          <p:nvPr/>
        </p:nvSpPr>
        <p:spPr bwMode="auto">
          <a:xfrm>
            <a:off x="1691680" y="4941168"/>
            <a:ext cx="640871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0" hangingPunct="0">
              <a:spcBef>
                <a:spcPct val="50000"/>
              </a:spcBef>
            </a:pPr>
            <a:r>
              <a:rPr lang="ru-RU" sz="2200" b="1" dirty="0" smtClean="0">
                <a:latin typeface="Times New Roman" pitchFamily="18" charset="0"/>
              </a:rPr>
              <a:t>40,3 млн. рублей на содержание  автомобильных дорог, безопасность дорожного движения, механизированную уборку</a:t>
            </a:r>
            <a:endParaRPr lang="ru-RU" sz="2200" b="1" dirty="0">
              <a:latin typeface="Times New Roman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4716016" y="2924944"/>
            <a:ext cx="299665" cy="411437"/>
          </a:xfrm>
          <a:prstGeom prst="down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Стрелка вниз 13"/>
          <p:cNvSpPr/>
          <p:nvPr/>
        </p:nvSpPr>
        <p:spPr>
          <a:xfrm>
            <a:off x="2555776" y="2996952"/>
            <a:ext cx="288032" cy="1800200"/>
          </a:xfrm>
          <a:prstGeom prst="downArrow">
            <a:avLst/>
          </a:prstGeom>
          <a:solidFill>
            <a:srgbClr val="FF66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5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2845" y="172490"/>
            <a:ext cx="571504" cy="8276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7811" name="Rectangle 3"/>
          <p:cNvSpPr>
            <a:spLocks noGrp="1" noChangeArrowheads="1"/>
          </p:cNvSpPr>
          <p:nvPr>
            <p:ph type="title"/>
          </p:nvPr>
        </p:nvSpPr>
        <p:spPr>
          <a:xfrm>
            <a:off x="710777" y="644"/>
            <a:ext cx="7704856" cy="1382402"/>
          </a:xfrm>
        </p:spPr>
        <p:txBody>
          <a:bodyPr anchor="ctr">
            <a:noAutofit/>
          </a:bodyPr>
          <a:lstStyle/>
          <a:p>
            <a:pPr algn="ctr" eaLnBrk="1" hangingPunct="1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АССОВОЕ ИСПОЛНЕНИЕ И СТРУКТУРА ДОРОЖНОГО ФОНДА В 2021 ГОДУ</a:t>
            </a:r>
          </a:p>
        </p:txBody>
      </p:sp>
      <p:sp>
        <p:nvSpPr>
          <p:cNvPr id="16" name="Пятиугольник 15"/>
          <p:cNvSpPr/>
          <p:nvPr/>
        </p:nvSpPr>
        <p:spPr>
          <a:xfrm>
            <a:off x="19266" y="6424861"/>
            <a:ext cx="1578096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6</a:t>
            </a:r>
            <a:endParaRPr lang="ru-RU" dirty="0"/>
          </a:p>
        </p:txBody>
      </p:sp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3AA823D8-915F-B5E6-9A82-E1D08CFDCED7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t="11293" b="5193"/>
          <a:stretch/>
        </p:blipFill>
        <p:spPr>
          <a:xfrm>
            <a:off x="107353" y="2972847"/>
            <a:ext cx="2356998" cy="1968321"/>
          </a:xfrm>
          <a:prstGeom prst="rect">
            <a:avLst/>
          </a:prstGeom>
        </p:spPr>
      </p:pic>
    </p:spTree>
  </p:cSld>
  <p:clrMapOvr>
    <a:masterClrMapping/>
  </p:clrMapOvr>
  <p:transition spd="med">
    <p:circl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pic>
        <p:nvPicPr>
          <p:cNvPr id="2" name="Picture 4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8864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509614163"/>
              </p:ext>
            </p:extLst>
          </p:nvPr>
        </p:nvGraphicFramePr>
        <p:xfrm>
          <a:off x="0" y="404664"/>
          <a:ext cx="8964488" cy="63250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971600" y="260648"/>
            <a:ext cx="7704856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alt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ДИНАМИКА ИСПОЛНЕНИЯ РАСХОДОВ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В 2021 ГОДУ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8" name="Rectangle 4"/>
          <p:cNvSpPr txBox="1">
            <a:spLocks noChangeArrowheads="1"/>
          </p:cNvSpPr>
          <p:nvPr/>
        </p:nvSpPr>
        <p:spPr>
          <a:xfrm>
            <a:off x="1115616" y="152400"/>
            <a:ext cx="7215238" cy="1214446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txBody>
          <a:bodyPr vert="horz" lIns="91440" tIns="45720" rIns="91440" bIns="45720" rtlCol="0" anchor="ctr">
            <a:noAutofit/>
          </a:bodyPr>
          <a:lstStyle/>
          <a:p>
            <a:pPr lvl="0" algn="ctr">
              <a:lnSpc>
                <a:spcPts val="3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МУНИЦИПАЛЬНЫЙ ВНУТРЕННИЙ ДОЛГ</a:t>
            </a:r>
            <a:b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</a:br>
            <a:endParaRPr lang="ru-RU" alt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+mj-cs"/>
            </a:endParaRPr>
          </a:p>
        </p:txBody>
      </p:sp>
      <p:graphicFrame>
        <p:nvGraphicFramePr>
          <p:cNvPr id="27" name="Диаграмма 26"/>
          <p:cNvGraphicFramePr/>
          <p:nvPr>
            <p:custDataLst>
              <p:tags r:id="rId1"/>
            </p:custDataLst>
            <p:extLst>
              <p:ext uri="{D42A27DB-BD31-4B8C-83A1-F6EECF244321}">
                <p14:modId xmlns="" xmlns:p14="http://schemas.microsoft.com/office/powerpoint/2010/main" val="2426079160"/>
              </p:ext>
            </p:extLst>
          </p:nvPr>
        </p:nvGraphicFramePr>
        <p:xfrm>
          <a:off x="0" y="1016000"/>
          <a:ext cx="9144000" cy="5489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9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ятиугольник 6"/>
          <p:cNvSpPr/>
          <p:nvPr/>
        </p:nvSpPr>
        <p:spPr>
          <a:xfrm>
            <a:off x="0" y="6441594"/>
            <a:ext cx="1578096" cy="416406"/>
          </a:xfrm>
          <a:prstGeom prst="homePlate">
            <a:avLst/>
          </a:prstGeom>
          <a:gradFill rotWithShape="1">
            <a:gsLst>
              <a:gs pos="0">
                <a:srgbClr val="00B050"/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18</a:t>
            </a:r>
            <a:endParaRPr lang="ru-RU" sz="1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Рисунок 29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46" name="AutoShape 7"/>
          <p:cNvSpPr>
            <a:spLocks noChangeArrowheads="1"/>
          </p:cNvSpPr>
          <p:nvPr/>
        </p:nvSpPr>
        <p:spPr bwMode="auto">
          <a:xfrm>
            <a:off x="500034" y="2285992"/>
            <a:ext cx="2055742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795,5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793,7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,8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7" name="Text Box 11"/>
          <p:cNvSpPr txBox="1">
            <a:spLocks noChangeArrowheads="1"/>
          </p:cNvSpPr>
          <p:nvPr/>
        </p:nvSpPr>
        <p:spPr bwMode="auto">
          <a:xfrm>
            <a:off x="785786" y="1714488"/>
            <a:ext cx="1758950" cy="411651"/>
          </a:xfrm>
          <a:prstGeom prst="rect">
            <a:avLst/>
          </a:prstGeom>
          <a:solidFill>
            <a:schemeClr val="bg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19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48" name="AutoShape 7"/>
          <p:cNvSpPr>
            <a:spLocks noChangeArrowheads="1"/>
          </p:cNvSpPr>
          <p:nvPr/>
        </p:nvSpPr>
        <p:spPr bwMode="auto">
          <a:xfrm>
            <a:off x="3643306" y="2285992"/>
            <a:ext cx="2000264" cy="3929090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141,6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042,4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Профицит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99,2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49" name="Text Box 11"/>
          <p:cNvSpPr txBox="1">
            <a:spLocks noChangeArrowheads="1"/>
          </p:cNvSpPr>
          <p:nvPr/>
        </p:nvSpPr>
        <p:spPr bwMode="auto">
          <a:xfrm>
            <a:off x="3786182" y="1714488"/>
            <a:ext cx="1758950" cy="411651"/>
          </a:xfrm>
          <a:prstGeom prst="rect">
            <a:avLst/>
          </a:prstGeom>
          <a:solidFill>
            <a:schemeClr val="bg1">
              <a:alpha val="20000"/>
            </a:scheme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20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51" name="Text Box 11"/>
          <p:cNvSpPr txBox="1">
            <a:spLocks noChangeArrowheads="1"/>
          </p:cNvSpPr>
          <p:nvPr/>
        </p:nvSpPr>
        <p:spPr bwMode="auto">
          <a:xfrm>
            <a:off x="6715140" y="1714488"/>
            <a:ext cx="1758950" cy="411651"/>
          </a:xfrm>
          <a:prstGeom prst="rect">
            <a:avLst/>
          </a:prstGeom>
          <a:solidFill>
            <a:srgbClr val="FFFFFF">
              <a:alpha val="20000"/>
            </a:srgbClr>
          </a:solidFill>
          <a:ln w="9525">
            <a:noFill/>
            <a:miter lim="800000"/>
            <a:headEnd/>
            <a:tailEnd/>
          </a:ln>
        </p:spPr>
        <p:txBody>
          <a:bodyPr lIns="102870" tIns="51435" rIns="102870" bIns="51435">
            <a:spAutoFit/>
          </a:bodyPr>
          <a:lstStyle/>
          <a:p>
            <a:pPr algn="ctr" defTabSz="1028700" eaLnBrk="1" hangingPunct="1">
              <a:spcBef>
                <a:spcPct val="50000"/>
              </a:spcBef>
            </a:pPr>
            <a:r>
              <a:rPr lang="ru-RU" sz="2000" b="1" u="sng" dirty="0" smtClean="0">
                <a:solidFill>
                  <a:schemeClr val="bg1"/>
                </a:solidFill>
              </a:rPr>
              <a:t>2021 </a:t>
            </a:r>
            <a:r>
              <a:rPr lang="ru-RU" sz="2000" b="1" u="sng" dirty="0">
                <a:solidFill>
                  <a:schemeClr val="bg1"/>
                </a:solidFill>
              </a:rPr>
              <a:t>год</a:t>
            </a:r>
          </a:p>
        </p:txBody>
      </p:sp>
      <p:sp>
        <p:nvSpPr>
          <p:cNvPr id="15" name="AutoShape 7"/>
          <p:cNvSpPr>
            <a:spLocks noChangeArrowheads="1"/>
          </p:cNvSpPr>
          <p:nvPr/>
        </p:nvSpPr>
        <p:spPr bwMode="auto">
          <a:xfrm>
            <a:off x="3659266" y="2276872"/>
            <a:ext cx="2000264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905,9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42,3</a:t>
            </a:r>
          </a:p>
          <a:p>
            <a:pPr algn="ctr" defTabSz="1028700" eaLnBrk="1" hangingPunct="1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smtClean="0">
                <a:solidFill>
                  <a:schemeClr val="bg1"/>
                </a:solidFill>
              </a:rPr>
              <a:t>63,6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6" name="AutoShape 7"/>
          <p:cNvSpPr>
            <a:spLocks noChangeArrowheads="1"/>
          </p:cNvSpPr>
          <p:nvPr/>
        </p:nvSpPr>
        <p:spPr bwMode="auto">
          <a:xfrm>
            <a:off x="6660232" y="2285992"/>
            <a:ext cx="2055172" cy="3929090"/>
          </a:xfrm>
          <a:prstGeom prst="flowChartAlternateProcess">
            <a:avLst/>
          </a:prstGeom>
          <a:solidFill>
            <a:schemeClr val="accent3"/>
          </a:solidFill>
          <a:ln w="9525" algn="ctr">
            <a:miter lim="800000"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  <a:scene3d>
            <a:camera prst="legacyPerspectiveBottomLeft"/>
            <a:lightRig rig="legacyFlat3" dir="t"/>
          </a:scene3d>
          <a:sp3d extrusionH="887400" prstMaterial="legacyMatte">
            <a:bevelT w="13500" h="13500"/>
            <a:bevelB w="13500" h="13500" prst="angle"/>
            <a:extrusionClr>
              <a:srgbClr val="009900"/>
            </a:extrusionClr>
          </a:sp3d>
        </p:spPr>
        <p:txBody>
          <a:bodyPr wrap="none" lIns="102870" tIns="51435" rIns="102870" bIns="51435" anchor="ctr">
            <a:flatTx/>
          </a:bodyPr>
          <a:lstStyle/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Доходы 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78,1</a:t>
            </a:r>
          </a:p>
          <a:p>
            <a:pPr algn="ctr" defTabSz="1028700" eaLnBrk="1" hangingPunct="1">
              <a:defRPr/>
            </a:pPr>
            <a:endParaRPr lang="ru-RU" sz="1600" b="1" i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</a:t>
            </a: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1 837,0</a:t>
            </a:r>
          </a:p>
          <a:p>
            <a:pPr algn="ctr" defTabSz="1028700">
              <a:defRPr/>
            </a:pPr>
            <a:endParaRPr lang="ru-RU" b="1" dirty="0" smtClean="0">
              <a:solidFill>
                <a:schemeClr val="bg1"/>
              </a:solidFill>
            </a:endParaRPr>
          </a:p>
          <a:p>
            <a:pPr algn="ctr" defTabSz="1028700">
              <a:defRPr/>
            </a:pPr>
            <a:r>
              <a:rPr lang="ru-RU" b="1" dirty="0" err="1" smtClean="0">
                <a:solidFill>
                  <a:schemeClr val="bg1"/>
                </a:solidFill>
              </a:rPr>
              <a:t>Профицит</a:t>
            </a:r>
            <a:endParaRPr lang="ru-RU" b="1" dirty="0" smtClean="0">
              <a:solidFill>
                <a:schemeClr val="bg1"/>
              </a:solidFill>
            </a:endParaRPr>
          </a:p>
          <a:p>
            <a:pPr algn="ctr" defTabSz="1028700" eaLnBrk="1" hangingPunct="1">
              <a:defRPr/>
            </a:pPr>
            <a:r>
              <a:rPr lang="ru-RU" b="1" dirty="0" smtClean="0">
                <a:solidFill>
                  <a:schemeClr val="bg1"/>
                </a:solidFill>
              </a:rPr>
              <a:t>41,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8" name="Стрелка вправо с вырезом 17"/>
          <p:cNvSpPr/>
          <p:nvPr/>
        </p:nvSpPr>
        <p:spPr>
          <a:xfrm rot="21098750">
            <a:off x="2161794" y="3090520"/>
            <a:ext cx="1804755" cy="384896"/>
          </a:xfrm>
          <a:prstGeom prst="notchedRightArrow">
            <a:avLst/>
          </a:prstGeom>
          <a:ln>
            <a:solidFill>
              <a:srgbClr val="0099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10,4</a:t>
            </a:r>
            <a:endParaRPr lang="ru-RU" dirty="0"/>
          </a:p>
        </p:txBody>
      </p:sp>
      <p:sp>
        <p:nvSpPr>
          <p:cNvPr id="23" name="Стрелка вправо с вырезом 22"/>
          <p:cNvSpPr/>
          <p:nvPr/>
        </p:nvSpPr>
        <p:spPr>
          <a:xfrm rot="21083189">
            <a:off x="2090356" y="4019214"/>
            <a:ext cx="1804755" cy="384896"/>
          </a:xfrm>
          <a:prstGeom prst="notchedRight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8,6</a:t>
            </a:r>
            <a:endParaRPr lang="ru-RU" dirty="0"/>
          </a:p>
        </p:txBody>
      </p:sp>
      <p:sp>
        <p:nvSpPr>
          <p:cNvPr id="25" name="Стрелка вправо с вырезом 24"/>
          <p:cNvSpPr/>
          <p:nvPr/>
        </p:nvSpPr>
        <p:spPr>
          <a:xfrm rot="513980">
            <a:off x="5233233" y="3199573"/>
            <a:ext cx="1822694" cy="384896"/>
          </a:xfrm>
          <a:prstGeom prst="notchedRightArrow">
            <a:avLst/>
          </a:prstGeom>
          <a:ln>
            <a:solidFill>
              <a:srgbClr val="0099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27,8</a:t>
            </a:r>
            <a:endParaRPr lang="ru-RU" dirty="0"/>
          </a:p>
        </p:txBody>
      </p:sp>
      <p:sp>
        <p:nvSpPr>
          <p:cNvPr id="26" name="Стрелка вправо с вырезом 25"/>
          <p:cNvSpPr/>
          <p:nvPr/>
        </p:nvSpPr>
        <p:spPr>
          <a:xfrm rot="305305">
            <a:off x="5305025" y="4062043"/>
            <a:ext cx="1804755" cy="384896"/>
          </a:xfrm>
          <a:prstGeom prst="notchedRightArrow">
            <a:avLst/>
          </a:prstGeom>
          <a:ln>
            <a:solidFill>
              <a:srgbClr val="FF0000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-5,3</a:t>
            </a:r>
            <a:endParaRPr lang="ru-RU" dirty="0"/>
          </a:p>
        </p:txBody>
      </p:sp>
      <p:sp>
        <p:nvSpPr>
          <p:cNvPr id="19" name="Rectangle 51"/>
          <p:cNvSpPr>
            <a:spLocks noChangeArrowheads="1"/>
          </p:cNvSpPr>
          <p:nvPr/>
        </p:nvSpPr>
        <p:spPr bwMode="auto">
          <a:xfrm>
            <a:off x="83166" y="235186"/>
            <a:ext cx="892899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 ИСПОЛНЕНИЕ ОСНОВНЫХ ПАРАМЕТРОВ БЮДЖЕТА </a:t>
            </a:r>
            <a:endParaRPr lang="ru-RU" sz="20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r>
              <a:rPr 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в 2019-2021 </a:t>
            </a: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cs typeface="Times New Roman" pitchFamily="18" charset="0"/>
              </a:rPr>
              <a:t>гг.</a:t>
            </a:r>
            <a:endParaRPr 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8" name="Пятиугольник 27"/>
          <p:cNvSpPr/>
          <p:nvPr/>
        </p:nvSpPr>
        <p:spPr>
          <a:xfrm>
            <a:off x="166332" y="6374935"/>
            <a:ext cx="1725472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31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552" y="233264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34818" name="AutoShape 7"/>
          <p:cNvSpPr>
            <a:spLocks noChangeArrowheads="1"/>
          </p:cNvSpPr>
          <p:nvPr/>
        </p:nvSpPr>
        <p:spPr bwMode="auto">
          <a:xfrm>
            <a:off x="1475656" y="1484784"/>
            <a:ext cx="2952328" cy="5620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sz="2000" b="1" dirty="0" smtClean="0"/>
              <a:t>13</a:t>
            </a:r>
            <a:r>
              <a:rPr lang="ru-RU" dirty="0" smtClean="0"/>
              <a:t> </a:t>
            </a:r>
            <a:r>
              <a:rPr lang="ru-RU" dirty="0"/>
              <a:t>проверок и ревизий</a:t>
            </a:r>
          </a:p>
        </p:txBody>
      </p:sp>
      <p:sp>
        <p:nvSpPr>
          <p:cNvPr id="34820" name="AutoShape 10"/>
          <p:cNvSpPr>
            <a:spLocks noChangeArrowheads="1"/>
          </p:cNvSpPr>
          <p:nvPr/>
        </p:nvSpPr>
        <p:spPr bwMode="auto">
          <a:xfrm>
            <a:off x="714348" y="1484784"/>
            <a:ext cx="761308" cy="1153030"/>
          </a:xfrm>
          <a:prstGeom prst="curvedRightArrow">
            <a:avLst>
              <a:gd name="adj1" fmla="val 46667"/>
              <a:gd name="adj2" fmla="val 100000"/>
              <a:gd name="adj3" fmla="val 45417"/>
            </a:avLst>
          </a:prstGeom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ru-RU" dirty="0"/>
          </a:p>
        </p:txBody>
      </p:sp>
      <p:pic>
        <p:nvPicPr>
          <p:cNvPr id="34821" name="Picture 11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2" y="237964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  <p:sp>
        <p:nvSpPr>
          <p:cNvPr id="18" name="AutoShape 9"/>
          <p:cNvSpPr>
            <a:spLocks noChangeArrowheads="1"/>
          </p:cNvSpPr>
          <p:nvPr/>
        </p:nvSpPr>
        <p:spPr bwMode="auto">
          <a:xfrm>
            <a:off x="214282" y="3071810"/>
            <a:ext cx="4213702" cy="92869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>
              <a:lnSpc>
                <a:spcPts val="2000"/>
              </a:lnSpc>
            </a:pPr>
            <a:r>
              <a:rPr lang="ru-RU" i="1" dirty="0" smtClean="0"/>
              <a:t>Нарушения законодательства в сфере </a:t>
            </a:r>
          </a:p>
          <a:p>
            <a:pPr algn="ctr">
              <a:lnSpc>
                <a:spcPts val="2000"/>
              </a:lnSpc>
            </a:pPr>
            <a:r>
              <a:rPr lang="ru-RU" i="1" dirty="0" smtClean="0"/>
              <a:t>закупок товаров, работ, услуг </a:t>
            </a:r>
          </a:p>
          <a:p>
            <a:pPr algn="ctr">
              <a:lnSpc>
                <a:spcPts val="2000"/>
              </a:lnSpc>
            </a:pPr>
            <a:r>
              <a:rPr lang="ru-RU" sz="2000" b="1" i="1" dirty="0" smtClean="0"/>
              <a:t>281,6 млн. руб.</a:t>
            </a:r>
            <a:endParaRPr lang="ru-RU" sz="2000" b="1" dirty="0"/>
          </a:p>
        </p:txBody>
      </p:sp>
      <p:sp>
        <p:nvSpPr>
          <p:cNvPr id="19" name="AutoShape 9"/>
          <p:cNvSpPr>
            <a:spLocks noChangeArrowheads="1"/>
          </p:cNvSpPr>
          <p:nvPr/>
        </p:nvSpPr>
        <p:spPr bwMode="auto">
          <a:xfrm>
            <a:off x="4857752" y="2780928"/>
            <a:ext cx="3857652" cy="100526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арушение бюджетного </a:t>
            </a:r>
          </a:p>
          <a:p>
            <a:pPr algn="ctr"/>
            <a:r>
              <a:rPr lang="ru-RU" i="1" dirty="0" smtClean="0"/>
              <a:t>законодательства </a:t>
            </a:r>
          </a:p>
          <a:p>
            <a:pPr algn="ctr"/>
            <a:r>
              <a:rPr lang="ru-RU" sz="2000" b="1" i="1" dirty="0" smtClean="0"/>
              <a:t>0,8 млн. руб.</a:t>
            </a:r>
            <a:endParaRPr lang="ru-RU" sz="2000" dirty="0"/>
          </a:p>
        </p:txBody>
      </p:sp>
      <p:sp>
        <p:nvSpPr>
          <p:cNvPr id="21" name="AutoShape 9"/>
          <p:cNvSpPr>
            <a:spLocks noChangeArrowheads="1"/>
          </p:cNvSpPr>
          <p:nvPr/>
        </p:nvSpPr>
        <p:spPr bwMode="auto">
          <a:xfrm>
            <a:off x="3851920" y="4509120"/>
            <a:ext cx="2376264" cy="144016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еэффективное </a:t>
            </a:r>
          </a:p>
          <a:p>
            <a:pPr algn="ctr"/>
            <a:r>
              <a:rPr lang="ru-RU" i="1" dirty="0" smtClean="0"/>
              <a:t>использование</a:t>
            </a:r>
          </a:p>
          <a:p>
            <a:pPr algn="ctr"/>
            <a:r>
              <a:rPr lang="ru-RU" i="1" dirty="0" smtClean="0"/>
              <a:t> бюджетных средств</a:t>
            </a:r>
          </a:p>
          <a:p>
            <a:pPr algn="ctr"/>
            <a:r>
              <a:rPr lang="ru-RU" sz="2000" b="1" i="1" dirty="0" smtClean="0"/>
              <a:t>0,4 млн. руб.</a:t>
            </a:r>
            <a:endParaRPr lang="ru-RU" sz="2000" dirty="0"/>
          </a:p>
        </p:txBody>
      </p:sp>
      <p:sp>
        <p:nvSpPr>
          <p:cNvPr id="23" name="AutoShape 9"/>
          <p:cNvSpPr>
            <a:spLocks noChangeArrowheads="1"/>
          </p:cNvSpPr>
          <p:nvPr/>
        </p:nvSpPr>
        <p:spPr bwMode="auto">
          <a:xfrm>
            <a:off x="6588224" y="4581128"/>
            <a:ext cx="2432882" cy="136815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i="1" dirty="0" smtClean="0"/>
              <a:t>Неправомерное </a:t>
            </a:r>
          </a:p>
          <a:p>
            <a:pPr algn="ctr"/>
            <a:r>
              <a:rPr lang="ru-RU" i="1" dirty="0" smtClean="0"/>
              <a:t>расходование </a:t>
            </a:r>
          </a:p>
          <a:p>
            <a:pPr algn="ctr"/>
            <a:r>
              <a:rPr lang="ru-RU" i="1" dirty="0" smtClean="0"/>
              <a:t>бюджетных средств</a:t>
            </a:r>
          </a:p>
          <a:p>
            <a:pPr algn="ctr"/>
            <a:r>
              <a:rPr lang="ru-RU" sz="2000" b="1" i="1" dirty="0" smtClean="0"/>
              <a:t>0,1 млн. руб.</a:t>
            </a:r>
            <a:endParaRPr lang="ru-RU" sz="2000" dirty="0"/>
          </a:p>
        </p:txBody>
      </p:sp>
      <p:sp>
        <p:nvSpPr>
          <p:cNvPr id="24" name="Стрелка влево 23"/>
          <p:cNvSpPr/>
          <p:nvPr/>
        </p:nvSpPr>
        <p:spPr>
          <a:xfrm rot="18519190">
            <a:off x="1002886" y="2508609"/>
            <a:ext cx="868907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трелка влево 24"/>
          <p:cNvSpPr/>
          <p:nvPr/>
        </p:nvSpPr>
        <p:spPr>
          <a:xfrm rot="13269306">
            <a:off x="4487590" y="2410992"/>
            <a:ext cx="808379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4819" name="AutoShape 9"/>
          <p:cNvSpPr>
            <a:spLocks noChangeArrowheads="1"/>
          </p:cNvSpPr>
          <p:nvPr/>
        </p:nvSpPr>
        <p:spPr bwMode="auto">
          <a:xfrm>
            <a:off x="1500166" y="2143116"/>
            <a:ext cx="2971800" cy="627112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/>
              <a:t>Финансовых нарушений</a:t>
            </a:r>
          </a:p>
          <a:p>
            <a:pPr algn="ctr"/>
            <a:r>
              <a:rPr lang="ru-RU" sz="2000" b="1" dirty="0" smtClean="0"/>
              <a:t>282,4 млн. руб.</a:t>
            </a:r>
            <a:endParaRPr lang="ru-RU" sz="2000" b="1" dirty="0"/>
          </a:p>
        </p:txBody>
      </p:sp>
      <p:sp>
        <p:nvSpPr>
          <p:cNvPr id="14" name="AutoShape 9"/>
          <p:cNvSpPr>
            <a:spLocks noChangeArrowheads="1"/>
          </p:cNvSpPr>
          <p:nvPr/>
        </p:nvSpPr>
        <p:spPr bwMode="auto">
          <a:xfrm>
            <a:off x="2699792" y="6165304"/>
            <a:ext cx="4464496" cy="57606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Устранено финансовых </a:t>
            </a:r>
            <a:r>
              <a:rPr lang="ru-RU" dirty="0"/>
              <a:t>нарушений</a:t>
            </a:r>
          </a:p>
          <a:p>
            <a:pPr algn="ctr"/>
            <a:r>
              <a:rPr lang="ru-RU" sz="2000" b="1" dirty="0" smtClean="0"/>
              <a:t>0,7 млн. руб.</a:t>
            </a:r>
            <a:endParaRPr lang="ru-RU" sz="2000" b="1" dirty="0"/>
          </a:p>
        </p:txBody>
      </p:sp>
      <p:sp>
        <p:nvSpPr>
          <p:cNvPr id="26" name="AutoShape 7"/>
          <p:cNvSpPr>
            <a:spLocks noChangeArrowheads="1"/>
          </p:cNvSpPr>
          <p:nvPr/>
        </p:nvSpPr>
        <p:spPr bwMode="auto">
          <a:xfrm>
            <a:off x="5076056" y="1628800"/>
            <a:ext cx="3888432" cy="778024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r>
              <a:rPr lang="ru-RU" dirty="0" smtClean="0"/>
              <a:t>Объем проверенных  средств </a:t>
            </a:r>
          </a:p>
          <a:p>
            <a:pPr algn="ctr"/>
            <a:r>
              <a:rPr lang="ru-RU" b="1" dirty="0" smtClean="0"/>
              <a:t>378,6</a:t>
            </a:r>
            <a:r>
              <a:rPr lang="ru-RU" sz="2000" b="1" dirty="0" smtClean="0"/>
              <a:t> млн. руб.</a:t>
            </a:r>
            <a:endParaRPr lang="ru-RU" sz="2000" b="1" dirty="0"/>
          </a:p>
        </p:txBody>
      </p:sp>
      <p:sp>
        <p:nvSpPr>
          <p:cNvPr id="27" name="Стрелка влево 26"/>
          <p:cNvSpPr/>
          <p:nvPr/>
        </p:nvSpPr>
        <p:spPr>
          <a:xfrm rot="10800000">
            <a:off x="4427984" y="1556792"/>
            <a:ext cx="549780" cy="484632"/>
          </a:xfrm>
          <a:prstGeom prst="leftArrow">
            <a:avLst>
              <a:gd name="adj1" fmla="val 50000"/>
              <a:gd name="adj2" fmla="val 50000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8" name="Стрелка влево 27"/>
          <p:cNvSpPr/>
          <p:nvPr/>
        </p:nvSpPr>
        <p:spPr>
          <a:xfrm rot="16200000">
            <a:off x="5248644" y="3904484"/>
            <a:ext cx="571504" cy="484632"/>
          </a:xfrm>
          <a:prstGeom prst="leftArrow">
            <a:avLst>
              <a:gd name="adj1" fmla="val 50000"/>
              <a:gd name="adj2" fmla="val 46601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9" name="Стрелка влево 28"/>
          <p:cNvSpPr/>
          <p:nvPr/>
        </p:nvSpPr>
        <p:spPr>
          <a:xfrm rot="16200000">
            <a:off x="7272304" y="3897053"/>
            <a:ext cx="504056" cy="432046"/>
          </a:xfrm>
          <a:prstGeom prst="leftArrow">
            <a:avLst>
              <a:gd name="adj1" fmla="val 50000"/>
              <a:gd name="adj2" fmla="val 38559"/>
            </a:avLst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971600" y="260648"/>
            <a:ext cx="727280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ИТОГИ КОНТРОЛЬНО-РЕВИЗИОННОЙ ДЕЯТЕЛЬНОСТИ ФИНАНСОВОГО УПРАВЛЕНИЯ 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в 2021 году                                                                        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2" name="AutoShape 9"/>
          <p:cNvSpPr>
            <a:spLocks noChangeArrowheads="1"/>
          </p:cNvSpPr>
          <p:nvPr/>
        </p:nvSpPr>
        <p:spPr bwMode="auto">
          <a:xfrm>
            <a:off x="251520" y="4293096"/>
            <a:ext cx="3096344" cy="1800200"/>
          </a:xfrm>
          <a:prstGeom prst="foldedCorner">
            <a:avLst>
              <a:gd name="adj" fmla="val 12500"/>
            </a:avLst>
          </a:prstGeom>
          <a:ln>
            <a:headEnd/>
            <a:tailEnd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anchor="ctr"/>
          <a:lstStyle/>
          <a:p>
            <a:pPr algn="ctr"/>
            <a:endParaRPr lang="ru-RU" i="1" dirty="0" smtClean="0"/>
          </a:p>
          <a:p>
            <a:pPr algn="ctr"/>
            <a:r>
              <a:rPr lang="ru-RU" i="1" dirty="0" smtClean="0"/>
              <a:t>Нарушение Порядка ведения </a:t>
            </a:r>
          </a:p>
          <a:p>
            <a:pPr algn="ctr"/>
            <a:r>
              <a:rPr lang="ru-RU" i="1" dirty="0" smtClean="0"/>
              <a:t>бюджетного (бухгалтерского) </a:t>
            </a:r>
          </a:p>
          <a:p>
            <a:pPr algn="ctr"/>
            <a:r>
              <a:rPr lang="ru-RU" i="1" dirty="0" smtClean="0"/>
              <a:t>учета и представления </a:t>
            </a:r>
          </a:p>
          <a:p>
            <a:pPr algn="ctr"/>
            <a:r>
              <a:rPr lang="ru-RU" i="1" dirty="0" smtClean="0"/>
              <a:t>бюджетной (бухгалтерской) </a:t>
            </a:r>
          </a:p>
          <a:p>
            <a:pPr algn="ctr"/>
            <a:r>
              <a:rPr lang="ru-RU" i="1" dirty="0" smtClean="0"/>
              <a:t>отчетности  </a:t>
            </a:r>
          </a:p>
          <a:p>
            <a:pPr algn="ctr"/>
            <a:r>
              <a:rPr lang="ru-RU" sz="2000" b="1" i="1" dirty="0" smtClean="0"/>
              <a:t>0,3 млн. руб.</a:t>
            </a:r>
            <a:endParaRPr lang="ru-RU" sz="2000" dirty="0"/>
          </a:p>
        </p:txBody>
      </p:sp>
      <p:sp>
        <p:nvSpPr>
          <p:cNvPr id="34" name="Стрелка влево 33"/>
          <p:cNvSpPr/>
          <p:nvPr/>
        </p:nvSpPr>
        <p:spPr>
          <a:xfrm rot="19782046">
            <a:off x="3208212" y="3975335"/>
            <a:ext cx="1726085" cy="484632"/>
          </a:xfrm>
          <a:prstGeom prst="leftArrow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5" name="Пятиугольник 34"/>
          <p:cNvSpPr/>
          <p:nvPr/>
        </p:nvSpPr>
        <p:spPr>
          <a:xfrm>
            <a:off x="51435" y="6453336"/>
            <a:ext cx="1578096" cy="416406"/>
          </a:xfrm>
          <a:prstGeom prst="homePlate">
            <a:avLst/>
          </a:prstGeom>
          <a:gradFill rotWithShape="1">
            <a:gsLst>
              <a:gs pos="0">
                <a:srgbClr val="00B050"/>
              </a:gs>
              <a:gs pos="80000">
                <a:srgbClr val="9BBB59">
                  <a:shade val="93000"/>
                  <a:satMod val="130000"/>
                </a:srgbClr>
              </a:gs>
              <a:gs pos="100000">
                <a:srgbClr val="9BBB59">
                  <a:shade val="94000"/>
                  <a:satMod val="135000"/>
                </a:srgbClr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800" dirty="0" smtClean="0"/>
              <a:t>17</a:t>
            </a:r>
            <a:endParaRPr lang="ru-RU" sz="18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5" name="TextBox 4"/>
          <p:cNvSpPr txBox="1"/>
          <p:nvPr/>
        </p:nvSpPr>
        <p:spPr>
          <a:xfrm>
            <a:off x="683568" y="2827252"/>
            <a:ext cx="8208912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6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+mj-cs"/>
              </a:rPr>
              <a:t>Спасибо за внимание !</a:t>
            </a:r>
          </a:p>
        </p:txBody>
      </p:sp>
      <p:pic>
        <p:nvPicPr>
          <p:cNvPr id="9" name="Picture 11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8295" y="116632"/>
            <a:ext cx="58251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/>
            <a:lightRig rig="threePt" dir="t"/>
          </a:scene3d>
          <a:sp3d>
            <a:bevelT/>
          </a:sp3d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23" name="Скругленный прямоугольник 22"/>
          <p:cNvSpPr/>
          <p:nvPr/>
        </p:nvSpPr>
        <p:spPr>
          <a:xfrm>
            <a:off x="2699792" y="3212976"/>
            <a:ext cx="3657018" cy="357190"/>
          </a:xfrm>
          <a:prstGeom prst="roundRect">
            <a:avLst/>
          </a:prstGeom>
          <a:solidFill>
            <a:srgbClr val="006600"/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Налоговые и неналоговые доходы 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0" y="1821190"/>
            <a:ext cx="2357422" cy="642942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оступило –                  1 905,9 млн. руб.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7508" y="954116"/>
            <a:ext cx="2709589" cy="83099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20 год</a:t>
            </a:r>
            <a:endParaRPr lang="ru-RU" sz="48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chemeClr val="bg1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6394589" y="1196752"/>
            <a:ext cx="2432076" cy="830997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4800" b="0" cap="none" spc="0" dirty="0" smtClean="0">
                <a:ln w="10160">
                  <a:solidFill>
                    <a:schemeClr val="accent1"/>
                  </a:solidFill>
                  <a:prstDash val="solid"/>
                </a:ln>
                <a:solidFill>
                  <a:schemeClr val="bg1"/>
                </a:solidFill>
                <a:effectLst>
                  <a:outerShdw blurRad="38100" dist="32000" dir="5400000" algn="tl">
                    <a:srgbClr val="000000">
                      <a:alpha val="30000"/>
                    </a:srgbClr>
                  </a:outerShdw>
                </a:effectLst>
              </a:rPr>
              <a:t>2021 год</a:t>
            </a:r>
            <a:endParaRPr lang="ru-RU" sz="4800" b="0" cap="none" spc="0" dirty="0">
              <a:ln w="10160">
                <a:solidFill>
                  <a:schemeClr val="accent1"/>
                </a:solidFill>
                <a:prstDash val="solid"/>
              </a:ln>
              <a:solidFill>
                <a:schemeClr val="bg1"/>
              </a:solidFill>
              <a:effectLst>
                <a:outerShdw blurRad="38100" dist="32000" dir="5400000" algn="tl">
                  <a:srgbClr val="000000">
                    <a:alpha val="30000"/>
                  </a:srgbClr>
                </a:outerShdw>
              </a:effectLst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5724128" y="3933056"/>
            <a:ext cx="3419872" cy="79265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494,3 млн. руб. (103,6 %)  Доля в общем объеме 26,3 %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2771800" y="5301208"/>
            <a:ext cx="3149542" cy="357190"/>
          </a:xfrm>
          <a:prstGeom prst="roundRect">
            <a:avLst/>
          </a:prstGeom>
          <a:solidFill>
            <a:srgbClr val="006600"/>
          </a:soli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700" b="1" dirty="0" smtClean="0"/>
              <a:t>Безвозмездные поступления </a:t>
            </a:r>
          </a:p>
        </p:txBody>
      </p:sp>
      <p:pic>
        <p:nvPicPr>
          <p:cNvPr id="40962" name="Picture 2" descr="C:\Users\ZhRibSP\Desktop\s120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403648" y="2204864"/>
            <a:ext cx="1928826" cy="1928826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 w="114300" prst="artDeco"/>
          </a:sp3d>
        </p:spPr>
      </p:pic>
      <p:sp>
        <p:nvSpPr>
          <p:cNvPr id="38" name="Скругленный прямоугольник 37"/>
          <p:cNvSpPr/>
          <p:nvPr/>
        </p:nvSpPr>
        <p:spPr>
          <a:xfrm>
            <a:off x="243185" y="5301600"/>
            <a:ext cx="2160240" cy="86409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 algn="ctr"/>
            <a:r>
              <a:rPr lang="ru-RU" sz="1600" dirty="0" smtClean="0"/>
              <a:t>Поступило –                     1 515,2 млн. руб.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5937975" y="5863409"/>
            <a:ext cx="3061004" cy="857256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- 1 383,8 млн. руб.</a:t>
            </a:r>
          </a:p>
          <a:p>
            <a:pPr lvl="0"/>
            <a:r>
              <a:rPr lang="ru-RU" sz="1600" dirty="0" smtClean="0"/>
              <a:t>Доля в общем объеме 73,7%</a:t>
            </a:r>
          </a:p>
        </p:txBody>
      </p:sp>
      <p:sp>
        <p:nvSpPr>
          <p:cNvPr id="41" name="Стрелка вправо 40"/>
          <p:cNvSpPr/>
          <p:nvPr/>
        </p:nvSpPr>
        <p:spPr>
          <a:xfrm rot="460358">
            <a:off x="2403541" y="5769647"/>
            <a:ext cx="3555813" cy="684851"/>
          </a:xfrm>
          <a:prstGeom prst="rightArrow">
            <a:avLst>
              <a:gd name="adj1" fmla="val 62389"/>
              <a:gd name="adj2" fmla="val 50000"/>
            </a:avLst>
          </a:prstGeom>
          <a:gradFill flip="none" rotWithShape="1">
            <a:gsLst>
              <a:gs pos="0">
                <a:srgbClr val="FF0000"/>
              </a:gs>
              <a:gs pos="50000">
                <a:srgbClr val="006600"/>
              </a:gs>
              <a:gs pos="100000">
                <a:srgbClr val="FF0000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Снижение 131,4 млн. руб. 8,7 %</a:t>
            </a:r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0" y="3933056"/>
            <a:ext cx="3563888" cy="79208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sz="1600" dirty="0" smtClean="0"/>
              <a:t>Поступило – 390,7 млн. руб. (107,3 %) Доля в общем объеме 20,5%</a:t>
            </a:r>
          </a:p>
        </p:txBody>
      </p:sp>
      <p:sp>
        <p:nvSpPr>
          <p:cNvPr id="30" name="Стрелка вправо 29"/>
          <p:cNvSpPr/>
          <p:nvPr/>
        </p:nvSpPr>
        <p:spPr>
          <a:xfrm rot="21039886">
            <a:off x="3326187" y="3915590"/>
            <a:ext cx="2485931" cy="864393"/>
          </a:xfrm>
          <a:prstGeom prst="rightArrow">
            <a:avLst>
              <a:gd name="adj1" fmla="val 50000"/>
              <a:gd name="adj2" fmla="val 51166"/>
            </a:avLst>
          </a:prstGeom>
          <a:gradFill flip="none" rotWithShape="1">
            <a:gsLst>
              <a:gs pos="0">
                <a:srgbClr val="006600"/>
              </a:gs>
              <a:gs pos="50000">
                <a:srgbClr val="57951F"/>
              </a:gs>
              <a:gs pos="100000">
                <a:srgbClr val="006600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Прирост </a:t>
            </a:r>
          </a:p>
          <a:p>
            <a:pPr algn="ctr"/>
            <a:r>
              <a:rPr lang="ru-RU" sz="1500" dirty="0" smtClean="0"/>
              <a:t>103,6 млн. руб. 26,5 %</a:t>
            </a:r>
            <a:endParaRPr lang="ru-RU" sz="1500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4860032" y="2061242"/>
            <a:ext cx="4211960" cy="1143008"/>
          </a:xfrm>
          <a:prstGeom prst="roundRect">
            <a:avLst/>
          </a:prstGeom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lvl="0"/>
            <a:r>
              <a:rPr lang="ru-RU" dirty="0" smtClean="0"/>
              <a:t>План по доходам – 1 864,6 млн. руб.</a:t>
            </a:r>
          </a:p>
          <a:p>
            <a:pPr lvl="0"/>
            <a:r>
              <a:rPr lang="ru-RU" b="1" dirty="0" smtClean="0"/>
              <a:t>Поступило – 1 878,1 млн. руб. (100,7 %) </a:t>
            </a:r>
            <a:endParaRPr lang="ru-RU" b="1" dirty="0"/>
          </a:p>
        </p:txBody>
      </p:sp>
      <p:sp>
        <p:nvSpPr>
          <p:cNvPr id="27" name="Стрелка вправо 26"/>
          <p:cNvSpPr/>
          <p:nvPr/>
        </p:nvSpPr>
        <p:spPr>
          <a:xfrm rot="203905">
            <a:off x="2365363" y="1525056"/>
            <a:ext cx="2528462" cy="1327858"/>
          </a:xfrm>
          <a:prstGeom prst="rightArrow">
            <a:avLst/>
          </a:prstGeom>
          <a:gradFill flip="none" rotWithShape="1">
            <a:gsLst>
              <a:gs pos="0">
                <a:srgbClr val="FF0000"/>
              </a:gs>
              <a:gs pos="50000">
                <a:srgbClr val="006600"/>
              </a:gs>
              <a:gs pos="100000">
                <a:srgbClr val="FF0000"/>
              </a:gs>
            </a:gsLst>
            <a:path path="circle">
              <a:fillToRect l="50000" t="50000" r="50000" b="50000"/>
            </a:path>
            <a:tileRect/>
          </a:gradFill>
          <a:ln>
            <a:gradFill>
              <a:gsLst>
                <a:gs pos="0">
                  <a:schemeClr val="accent1">
                    <a:tint val="66000"/>
                    <a:satMod val="160000"/>
                  </a:schemeClr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5400000" scaled="0"/>
            </a:gradFill>
          </a:ln>
          <a:scene3d>
            <a:camera prst="orthographicFront"/>
            <a:lightRig rig="threePt" dir="t"/>
          </a:scene3d>
          <a:sp3d>
            <a:bevelT w="114300" prst="artDeco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dirty="0" smtClean="0"/>
              <a:t>Снижение</a:t>
            </a:r>
          </a:p>
          <a:p>
            <a:pPr algn="ctr"/>
            <a:r>
              <a:rPr lang="ru-RU" sz="1500" dirty="0" smtClean="0"/>
              <a:t>27,8 млн.руб. или 1,5 %</a:t>
            </a:r>
            <a:endParaRPr lang="ru-RU" sz="1500" dirty="0"/>
          </a:p>
        </p:txBody>
      </p:sp>
      <p:pic>
        <p:nvPicPr>
          <p:cNvPr id="19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Пятиугольник 21"/>
          <p:cNvSpPr/>
          <p:nvPr/>
        </p:nvSpPr>
        <p:spPr>
          <a:xfrm>
            <a:off x="0" y="6381328"/>
            <a:ext cx="1725472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2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168860" y="407919"/>
            <a:ext cx="538234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ИСПОЛНЕНИЕ БЮДЖЕТА ПО ДОХОДАМ</a:t>
            </a:r>
            <a:endParaRPr lang="ru-RU" sz="2000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2290" name="Rectangle 4"/>
          <p:cNvSpPr>
            <a:spLocks noGrp="1" noChangeArrowheads="1"/>
          </p:cNvSpPr>
          <p:nvPr>
            <p:ph type="ctrTitle" idx="4294967295"/>
          </p:nvPr>
        </p:nvSpPr>
        <p:spPr>
          <a:xfrm>
            <a:off x="1692893" y="104006"/>
            <a:ext cx="7572428" cy="1000132"/>
          </a:xfrm>
          <a:ln>
            <a:noFill/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anchor="ctr">
            <a:noAutofit/>
          </a:bodyPr>
          <a:lstStyle/>
          <a:p>
            <a:pPr>
              <a:defRPr/>
            </a:pP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ИСПОЛНЕНИЯ </a:t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ОХОДОВ в 2018-2021  гг.</a:t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/>
            </a:r>
            <a:br>
              <a:rPr lang="ru-RU" sz="28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</a:br>
            <a:endParaRPr lang="ru-RU" sz="2800" dirty="0" smtClean="0">
              <a:solidFill>
                <a:srgbClr val="00B050"/>
              </a:solidFill>
              <a:latin typeface="Times New Roman" pitchFamily="18" charset="0"/>
            </a:endParaRPr>
          </a:p>
        </p:txBody>
      </p: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="" xmlns:p14="http://schemas.microsoft.com/office/powerpoint/2010/main" val="2499802221"/>
              </p:ext>
            </p:extLst>
          </p:nvPr>
        </p:nvGraphicFramePr>
        <p:xfrm>
          <a:off x="152399" y="1063376"/>
          <a:ext cx="10064451" cy="5733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Стрелка вправо 30"/>
          <p:cNvSpPr/>
          <p:nvPr/>
        </p:nvSpPr>
        <p:spPr>
          <a:xfrm rot="21039886">
            <a:off x="2844458" y="1720806"/>
            <a:ext cx="1834760" cy="736641"/>
          </a:xfrm>
          <a:prstGeom prst="rightArrow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   93,7 млн. 5,5 </a:t>
            </a:r>
            <a:r>
              <a:rPr lang="ru-RU" sz="1600" dirty="0" smtClean="0"/>
              <a:t>%</a:t>
            </a:r>
            <a:endParaRPr lang="ru-RU" sz="1600" dirty="0"/>
          </a:p>
        </p:txBody>
      </p:sp>
      <p:sp>
        <p:nvSpPr>
          <p:cNvPr id="34" name="Стрелка вправо 33"/>
          <p:cNvSpPr/>
          <p:nvPr/>
        </p:nvSpPr>
        <p:spPr>
          <a:xfrm rot="21125118">
            <a:off x="3624904" y="3129736"/>
            <a:ext cx="1670154" cy="794459"/>
          </a:xfrm>
          <a:prstGeom prst="rightArrow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      88,4 млн. 6,5%</a:t>
            </a:r>
            <a:endParaRPr lang="ru-RU" sz="1400" dirty="0"/>
          </a:p>
        </p:txBody>
      </p:sp>
      <p:sp>
        <p:nvSpPr>
          <p:cNvPr id="37" name="Стрелка вправо 36"/>
          <p:cNvSpPr/>
          <p:nvPr/>
        </p:nvSpPr>
        <p:spPr>
          <a:xfrm rot="301545">
            <a:off x="6347562" y="1694694"/>
            <a:ext cx="1694910" cy="736641"/>
          </a:xfrm>
          <a:prstGeom prst="rightArrow">
            <a:avLst/>
          </a:prstGeom>
          <a:gradFill>
            <a:gsLst>
              <a:gs pos="0">
                <a:srgbClr val="FF0000"/>
              </a:gs>
              <a:gs pos="80000">
                <a:srgbClr val="FF0000"/>
              </a:gs>
              <a:gs pos="100000">
                <a:srgbClr val="FF0000"/>
              </a:gs>
            </a:gsLst>
          </a:gradFill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Снизились на 27,8 млн. 1,5 %</a:t>
            </a:r>
            <a:endParaRPr lang="ru-RU" sz="1400" dirty="0"/>
          </a:p>
        </p:txBody>
      </p:sp>
      <p:sp>
        <p:nvSpPr>
          <p:cNvPr id="40" name="Стрелка вправо 39"/>
          <p:cNvSpPr/>
          <p:nvPr/>
        </p:nvSpPr>
        <p:spPr>
          <a:xfrm rot="21125118">
            <a:off x="5201313" y="2412226"/>
            <a:ext cx="1759757" cy="830757"/>
          </a:xfrm>
          <a:prstGeom prst="rightArrow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    64,8 млн. 4,5 %</a:t>
            </a:r>
          </a:p>
        </p:txBody>
      </p:sp>
      <p:sp>
        <p:nvSpPr>
          <p:cNvPr id="42" name="Стрелка вправо 41"/>
          <p:cNvSpPr/>
          <p:nvPr/>
        </p:nvSpPr>
        <p:spPr>
          <a:xfrm rot="403152">
            <a:off x="7026208" y="2619034"/>
            <a:ext cx="1759757" cy="830757"/>
          </a:xfrm>
          <a:prstGeom prst="rightArrow">
            <a:avLst/>
          </a:prstGeom>
          <a:solidFill>
            <a:srgbClr val="FF0000"/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smtClean="0"/>
          </a:p>
          <a:p>
            <a:pPr algn="ctr"/>
            <a:r>
              <a:rPr lang="ru-RU" sz="1400" dirty="0" smtClean="0"/>
              <a:t>Снизились на     131,4 млн. 8,7 %</a:t>
            </a:r>
          </a:p>
          <a:p>
            <a:pPr algn="ctr"/>
            <a:endParaRPr lang="ru-RU" sz="1400" dirty="0"/>
          </a:p>
        </p:txBody>
      </p:sp>
      <p:sp>
        <p:nvSpPr>
          <p:cNvPr id="44" name="Стрелка вправо 43"/>
          <p:cNvSpPr/>
          <p:nvPr/>
        </p:nvSpPr>
        <p:spPr>
          <a:xfrm rot="21125118">
            <a:off x="4800730" y="4756937"/>
            <a:ext cx="1703934" cy="815332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      45,6 млн. 13,2 %</a:t>
            </a:r>
            <a:endParaRPr lang="ru-RU" sz="1400" dirty="0"/>
          </a:p>
        </p:txBody>
      </p:sp>
      <p:sp>
        <p:nvSpPr>
          <p:cNvPr id="45" name="Стрелка вправо 44"/>
          <p:cNvSpPr/>
          <p:nvPr/>
        </p:nvSpPr>
        <p:spPr>
          <a:xfrm rot="21125118">
            <a:off x="6467442" y="5015077"/>
            <a:ext cx="1817137" cy="830757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   103,6 млн. 26,5%</a:t>
            </a:r>
            <a:endParaRPr lang="ru-RU" sz="1400" dirty="0"/>
          </a:p>
        </p:txBody>
      </p:sp>
      <p:sp>
        <p:nvSpPr>
          <p:cNvPr id="43" name="Стрелка вправо 42"/>
          <p:cNvSpPr/>
          <p:nvPr/>
        </p:nvSpPr>
        <p:spPr>
          <a:xfrm rot="21125118">
            <a:off x="2913908" y="4607556"/>
            <a:ext cx="1925695" cy="814287"/>
          </a:xfrm>
          <a:prstGeom prst="right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Выросли на 5,3 млн. 1,6%</a:t>
            </a:r>
            <a:endParaRPr lang="ru-RU" sz="1400" dirty="0"/>
          </a:p>
        </p:txBody>
      </p:sp>
      <p:sp>
        <p:nvSpPr>
          <p:cNvPr id="47" name="TextBox 1"/>
          <p:cNvSpPr txBox="1"/>
          <p:nvPr/>
        </p:nvSpPr>
        <p:spPr>
          <a:xfrm>
            <a:off x="6552684" y="2178432"/>
            <a:ext cx="914400" cy="9144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Calibri"/>
                <a:cs typeface="Times New Roman" pitchFamily="18" charset="0"/>
              </a:rPr>
              <a:t>1515,2</a:t>
            </a:r>
            <a:endParaRPr lang="ru-RU" sz="1800" b="1" dirty="0">
              <a:latin typeface="Calibri"/>
              <a:cs typeface="Times New Roman" pitchFamily="18" charset="0"/>
            </a:endParaRPr>
          </a:p>
        </p:txBody>
      </p:sp>
      <p:sp>
        <p:nvSpPr>
          <p:cNvPr id="48" name="TextBox 1"/>
          <p:cNvSpPr txBox="1"/>
          <p:nvPr/>
        </p:nvSpPr>
        <p:spPr>
          <a:xfrm>
            <a:off x="8304975" y="2407137"/>
            <a:ext cx="914400" cy="914400"/>
          </a:xfrm>
          <a:prstGeom prst="rect">
            <a:avLst/>
          </a:prstGeom>
        </p:spPr>
        <p:txBody>
          <a:bodyPr wrap="non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ru-RU" sz="1800" b="1" dirty="0" smtClean="0">
                <a:latin typeface="Calibri"/>
                <a:cs typeface="Times New Roman" pitchFamily="18" charset="0"/>
              </a:rPr>
              <a:t>1383,8</a:t>
            </a:r>
            <a:endParaRPr lang="ru-RU" sz="1800" b="1" dirty="0">
              <a:latin typeface="Calibri"/>
              <a:cs typeface="Times New Roman" pitchFamily="18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" name="TextBox 19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9900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009900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Рисунок 8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827639874"/>
              </p:ext>
            </p:extLst>
          </p:nvPr>
        </p:nvGraphicFramePr>
        <p:xfrm>
          <a:off x="0" y="1093292"/>
          <a:ext cx="9144000" cy="52880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ятиугольник 9"/>
          <p:cNvSpPr/>
          <p:nvPr/>
        </p:nvSpPr>
        <p:spPr>
          <a:xfrm>
            <a:off x="0" y="6381328"/>
            <a:ext cx="1832976" cy="476672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4</a:t>
            </a:r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 flipH="1" flipV="1">
            <a:off x="5135230" y="3613666"/>
            <a:ext cx="27491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231232" y="152400"/>
            <a:ext cx="6912768" cy="792088"/>
          </a:xfrm>
          <a:prstGeom prst="roundRect">
            <a:avLst/>
          </a:prstGeom>
          <a:noFill/>
          <a:ln>
            <a:noFill/>
          </a:ln>
          <a:scene3d>
            <a:camera prst="perspectiveFront"/>
            <a:lightRig rig="threePt" dir="t"/>
          </a:scene3d>
          <a:sp3d>
            <a:contourClr>
              <a:schemeClr val="bg1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НАЛОГОВЫХ ДОХОДОВ</a:t>
            </a:r>
          </a:p>
        </p:txBody>
      </p:sp>
      <p:pic>
        <p:nvPicPr>
          <p:cNvPr id="15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TextBox 16"/>
          <p:cNvSpPr txBox="1"/>
          <p:nvPr/>
        </p:nvSpPr>
        <p:spPr>
          <a:xfrm>
            <a:off x="7596336" y="6453336"/>
            <a:ext cx="1285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009900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009900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5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altLang="ru-RU" sz="2400" b="1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802143970"/>
              </p:ext>
            </p:extLst>
          </p:nvPr>
        </p:nvGraphicFramePr>
        <p:xfrm>
          <a:off x="152400" y="1145424"/>
          <a:ext cx="8729725" cy="5019879"/>
        </p:xfrm>
        <a:graphic>
          <a:graphicData uri="http://schemas.openxmlformats.org/drawingml/2006/table">
            <a:tbl>
              <a:tblPr>
                <a:tableStyleId>{5940675A-B579-460E-94D1-54222C63F5DA}</a:tableStyleId>
              </a:tblPr>
              <a:tblGrid>
                <a:gridCol w="3345034"/>
                <a:gridCol w="895118"/>
                <a:gridCol w="914543"/>
                <a:gridCol w="997682"/>
                <a:gridCol w="1330244"/>
                <a:gridCol w="1247104"/>
              </a:tblGrid>
              <a:tr h="578029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 smtClean="0">
                          <a:solidFill>
                            <a:srgbClr val="00B050"/>
                          </a:solidFill>
                        </a:rPr>
                        <a:t>Источники доходов  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2019 год  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2020 год 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2021 год 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Отклонение к 2019 году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Отклонение к 2020 году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Налог на доходы физических лиц 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144,1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186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184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40,7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-1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486941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</a:rPr>
                        <a:t> Акциз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6,4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5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6,9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0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1,0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49881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dirty="0" smtClean="0">
                          <a:solidFill>
                            <a:schemeClr val="bg1"/>
                          </a:solidFill>
                        </a:rPr>
                        <a:t> Налоги на совокупный доход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15,6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14,7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39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23,7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24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Налог на имущество физических лиц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21,5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29,6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29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8,1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0,0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Земельный налог с организаций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61,4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74,6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144,9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83,5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70,3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617583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Земельный налог физических лиц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14,2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13,8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11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-2,6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-2,2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49881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u="none" strike="noStrike" smtClean="0">
                          <a:solidFill>
                            <a:schemeClr val="bg1"/>
                          </a:solidFill>
                        </a:rPr>
                        <a:t> Прочие налоговые доходы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8,7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9,4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>
                          <a:solidFill>
                            <a:schemeClr val="bg1"/>
                          </a:solidFill>
                        </a:rPr>
                        <a:t>7,6</a:t>
                      </a:r>
                      <a:endParaRPr lang="ru-RU" sz="1400" b="1" i="0" u="none" strike="noStrike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-1,1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</a:rPr>
                        <a:t>-1,8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/>
                </a:tc>
              </a:tr>
              <a:tr h="48694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ИТОГО 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271,9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334,3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424,7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152,8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u="none" strike="noStrike" dirty="0">
                          <a:solidFill>
                            <a:srgbClr val="00B050"/>
                          </a:solidFill>
                        </a:rPr>
                        <a:t>90,4</a:t>
                      </a:r>
                      <a:endParaRPr lang="ru-RU" sz="1400" b="1" i="0" u="none" strike="noStrike" dirty="0">
                        <a:solidFill>
                          <a:srgbClr val="00B050"/>
                        </a:solidFill>
                        <a:latin typeface="Times New Roman"/>
                      </a:endParaRPr>
                    </a:p>
                  </a:txBody>
                  <a:tcPr marL="7088" marR="7088" marT="7088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Скругленный прямоугольник 11"/>
          <p:cNvSpPr/>
          <p:nvPr/>
        </p:nvSpPr>
        <p:spPr>
          <a:xfrm>
            <a:off x="1131118" y="172616"/>
            <a:ext cx="6912768" cy="792088"/>
          </a:xfrm>
          <a:prstGeom prst="roundRect">
            <a:avLst/>
          </a:prstGeom>
          <a:noFill/>
          <a:ln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СТРУКТУРА НАЛОГОВЫХ ДОХОДОВ</a:t>
            </a:r>
            <a:endParaRPr lang="ru-RU" altLang="ru-RU" sz="2000" b="1" dirty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4" name="Picture 50" descr="герб-прозр фон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6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542155" y="-8104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altLang="ru-RU" sz="2400" b="1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23180518"/>
              </p:ext>
            </p:extLst>
          </p:nvPr>
        </p:nvGraphicFramePr>
        <p:xfrm>
          <a:off x="0" y="1004544"/>
          <a:ext cx="8979598" cy="53767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1" name="TextBox 20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066830" y="172616"/>
            <a:ext cx="6912768" cy="792088"/>
          </a:xfrm>
          <a:prstGeom prst="roundRect">
            <a:avLst/>
          </a:prstGeom>
          <a:noFill/>
          <a:ln w="0">
            <a:noFill/>
          </a:ln>
          <a:scene3d>
            <a:camera prst="perspectiveFront"/>
            <a:lightRig rig="threePt" dir="t"/>
          </a:scene3d>
          <a:sp3d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altLang="ru-RU" sz="20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НЕНАЛОГОВЫХ ДОХОДОВ</a:t>
            </a:r>
            <a:endParaRPr lang="ru-RU" altLang="ru-RU" sz="2000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pic>
        <p:nvPicPr>
          <p:cNvPr id="17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 descr="Изображение выглядит как текст&#10;&#10;Автоматически созданное описание">
            <a:extLst>
              <a:ext uri="{FF2B5EF4-FFF2-40B4-BE49-F238E27FC236}">
                <a16:creationId xmlns="" xmlns:a16="http://schemas.microsoft.com/office/drawing/2014/main" id="{BBD4820B-F5CB-FC31-571B-FDD576E7783F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-1" y="0"/>
            <a:ext cx="9144001" cy="6863047"/>
          </a:xfrm>
          <a:prstGeom prst="rect">
            <a:avLst/>
          </a:prstGeom>
        </p:spPr>
      </p:pic>
      <p:sp>
        <p:nvSpPr>
          <p:cNvPr id="15" name="Пятиугольник 14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7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104145" y="106149"/>
            <a:ext cx="8875453" cy="6624736"/>
          </a:xfrm>
          <a:prstGeom prst="rect">
            <a:avLst/>
          </a:prstGeom>
          <a:noFill/>
          <a:ln w="63500" cmpd="thickThin">
            <a:solidFill>
              <a:srgbClr val="00B050"/>
            </a:solidFill>
            <a:bevel/>
          </a:ln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50"/>
              </a:solidFill>
            </a:endParaRPr>
          </a:p>
        </p:txBody>
      </p:sp>
      <p:sp>
        <p:nvSpPr>
          <p:cNvPr id="18" name="Rectangle 51"/>
          <p:cNvSpPr>
            <a:spLocks noChangeArrowheads="1"/>
          </p:cNvSpPr>
          <p:nvPr/>
        </p:nvSpPr>
        <p:spPr bwMode="auto">
          <a:xfrm>
            <a:off x="2031022" y="85207"/>
            <a:ext cx="6768752" cy="1153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altLang="ru-RU" sz="2400" b="1" dirty="0" smtClean="0">
                <a:solidFill>
                  <a:srgbClr val="00B05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ДИНАМИКА БЕЗВОЗМЕЗДНЫХ ПОСТУПЛЕНИЙ</a:t>
            </a:r>
            <a:endParaRPr lang="ru-RU" altLang="ru-RU" sz="2400" b="1" dirty="0">
              <a:solidFill>
                <a:srgbClr val="00B050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="" xmlns:p14="http://schemas.microsoft.com/office/powerpoint/2010/main" val="3126013896"/>
              </p:ext>
            </p:extLst>
          </p:nvPr>
        </p:nvGraphicFramePr>
        <p:xfrm>
          <a:off x="66966" y="764703"/>
          <a:ext cx="9144000" cy="552885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rgbClr val="1FAB58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rgbClr val="1FAB58"/>
              </a:solidFill>
              <a:ea typeface="Cambria Math" pitchFamily="18" charset="0"/>
              <a:cs typeface="Times New Roman" pitchFamily="18" charset="0"/>
            </a:endParaRPr>
          </a:p>
        </p:txBody>
      </p:sp>
      <p:pic>
        <p:nvPicPr>
          <p:cNvPr id="13" name="Picture 50" descr="герб-прозр фон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152400" y="152400"/>
            <a:ext cx="588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8D5F7869-68E2-5050-0814-AF3C2C5F2775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4482" y="0"/>
            <a:ext cx="9139518" cy="6858000"/>
          </a:xfrm>
          <a:prstGeom prst="rect">
            <a:avLst/>
          </a:prstGeom>
          <a:effectLst/>
        </p:spPr>
      </p:pic>
      <p:sp>
        <p:nvSpPr>
          <p:cNvPr id="31" name="Прямоугольник 30"/>
          <p:cNvSpPr/>
          <p:nvPr/>
        </p:nvSpPr>
        <p:spPr>
          <a:xfrm>
            <a:off x="107504" y="116632"/>
            <a:ext cx="8928992" cy="6624736"/>
          </a:xfrm>
          <a:prstGeom prst="rect">
            <a:avLst/>
          </a:prstGeom>
          <a:solidFill>
            <a:schemeClr val="bg1">
              <a:lumMod val="85000"/>
              <a:alpha val="0"/>
            </a:schemeClr>
          </a:soli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AutoShape 4"/>
          <p:cNvSpPr>
            <a:spLocks noChangeArrowheads="1"/>
          </p:cNvSpPr>
          <p:nvPr/>
        </p:nvSpPr>
        <p:spPr bwMode="auto">
          <a:xfrm>
            <a:off x="1965338" y="5072074"/>
            <a:ext cx="2160587" cy="1008062"/>
          </a:xfrm>
          <a:prstGeom prst="can">
            <a:avLst>
              <a:gd name="adj" fmla="val 25000"/>
            </a:avLst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837,0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0" name="AutoShape 12"/>
          <p:cNvSpPr>
            <a:spLocks noChangeArrowheads="1"/>
          </p:cNvSpPr>
          <p:nvPr/>
        </p:nvSpPr>
        <p:spPr bwMode="auto">
          <a:xfrm>
            <a:off x="4271973" y="536575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rgbClr val="00B050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11" name="AutoShape 3"/>
          <p:cNvSpPr>
            <a:spLocks noChangeArrowheads="1"/>
          </p:cNvSpPr>
          <p:nvPr/>
        </p:nvSpPr>
        <p:spPr bwMode="auto">
          <a:xfrm>
            <a:off x="6429388" y="5135582"/>
            <a:ext cx="2160588" cy="936624"/>
          </a:xfrm>
          <a:prstGeom prst="can">
            <a:avLst>
              <a:gd name="adj" fmla="val 25000"/>
            </a:avLst>
          </a:prstGeom>
          <a:solidFill>
            <a:srgbClr val="00B050"/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400" b="1" dirty="0" smtClean="0">
                <a:latin typeface="Times New Roman" pitchFamily="18" charset="0"/>
              </a:rPr>
              <a:t>1 160,1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1476375" y="1628775"/>
            <a:ext cx="3024188" cy="369332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b="1" dirty="0">
                <a:solidFill>
                  <a:schemeClr val="bg1"/>
                </a:solidFill>
                <a:latin typeface="Times New Roman" pitchFamily="18" charset="0"/>
              </a:rPr>
              <a:t>Всего расходы 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</a:rPr>
              <a:t>бюджета </a:t>
            </a:r>
            <a:endParaRPr lang="ru-RU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3" name="Text Box 11"/>
          <p:cNvSpPr txBox="1">
            <a:spLocks noChangeArrowheads="1"/>
          </p:cNvSpPr>
          <p:nvPr/>
        </p:nvSpPr>
        <p:spPr bwMode="auto">
          <a:xfrm>
            <a:off x="5251453" y="1643050"/>
            <a:ext cx="3892547" cy="646331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eaLnBrk="1" hangingPunct="1">
              <a:spcBef>
                <a:spcPct val="50000"/>
              </a:spcBef>
            </a:pPr>
            <a:r>
              <a:rPr lang="ru-RU" b="1" dirty="0">
                <a:solidFill>
                  <a:schemeClr val="bg1"/>
                </a:solidFill>
                <a:latin typeface="Times New Roman" pitchFamily="18" charset="0"/>
              </a:rPr>
              <a:t>в том числе </a:t>
            </a: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</a:rPr>
              <a:t>социально-значимые расходы</a:t>
            </a:r>
            <a:endParaRPr lang="ru-RU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4" name="Text Box 8"/>
          <p:cNvSpPr txBox="1">
            <a:spLocks noChangeArrowheads="1"/>
          </p:cNvSpPr>
          <p:nvPr/>
        </p:nvSpPr>
        <p:spPr bwMode="auto">
          <a:xfrm>
            <a:off x="485759" y="5365756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21 </a:t>
            </a:r>
            <a:r>
              <a:rPr lang="ru-RU" sz="2000" b="1" dirty="0">
                <a:solidFill>
                  <a:schemeClr val="bg1"/>
                </a:solidFill>
                <a:latin typeface="Times New Roman" pitchFamily="18" charset="0"/>
              </a:rPr>
              <a:t>год</a:t>
            </a: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4772039" y="550863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1" hangingPunct="1"/>
            <a:r>
              <a:rPr lang="ru-RU" sz="2000" b="1" dirty="0" smtClean="0"/>
              <a:t>62,3%</a:t>
            </a:r>
            <a:endParaRPr lang="ru-RU" sz="2000" b="1" dirty="0"/>
          </a:p>
        </p:txBody>
      </p:sp>
      <p:sp>
        <p:nvSpPr>
          <p:cNvPr id="17" name="Text Box 8"/>
          <p:cNvSpPr txBox="1">
            <a:spLocks noChangeArrowheads="1"/>
          </p:cNvSpPr>
          <p:nvPr/>
        </p:nvSpPr>
        <p:spPr bwMode="auto">
          <a:xfrm>
            <a:off x="428596" y="2928934"/>
            <a:ext cx="1152525" cy="396875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19 </a:t>
            </a:r>
            <a:r>
              <a:rPr lang="ru-RU" sz="2000" b="1" dirty="0">
                <a:solidFill>
                  <a:schemeClr val="bg1"/>
                </a:solidFill>
                <a:latin typeface="Times New Roman" pitchFamily="18" charset="0"/>
              </a:rPr>
              <a:t>год</a:t>
            </a:r>
          </a:p>
        </p:txBody>
      </p:sp>
      <p:sp>
        <p:nvSpPr>
          <p:cNvPr id="18" name="Text Box 8"/>
          <p:cNvSpPr txBox="1">
            <a:spLocks noChangeArrowheads="1"/>
          </p:cNvSpPr>
          <p:nvPr/>
        </p:nvSpPr>
        <p:spPr bwMode="auto">
          <a:xfrm>
            <a:off x="500034" y="4214818"/>
            <a:ext cx="1152525" cy="400110"/>
          </a:xfrm>
          <a:prstGeom prst="rect">
            <a:avLst/>
          </a:prstGeom>
          <a:solidFill>
            <a:srgbClr val="FFFF99">
              <a:alpha val="0"/>
            </a:srgbClr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</a:rPr>
              <a:t>2020 год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</a:endParaRPr>
          </a:p>
        </p:txBody>
      </p:sp>
      <p:sp>
        <p:nvSpPr>
          <p:cNvPr id="19" name="AutoShape 4"/>
          <p:cNvSpPr>
            <a:spLocks noChangeArrowheads="1"/>
          </p:cNvSpPr>
          <p:nvPr/>
        </p:nvSpPr>
        <p:spPr bwMode="auto">
          <a:xfrm>
            <a:off x="1928794" y="2643182"/>
            <a:ext cx="2160587" cy="1008062"/>
          </a:xfrm>
          <a:prstGeom prst="can">
            <a:avLst>
              <a:gd name="adj" fmla="val 25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793,7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0" name="AutoShape 4"/>
          <p:cNvSpPr>
            <a:spLocks noChangeArrowheads="1"/>
          </p:cNvSpPr>
          <p:nvPr/>
        </p:nvSpPr>
        <p:spPr bwMode="auto">
          <a:xfrm>
            <a:off x="2000232" y="3857628"/>
            <a:ext cx="2160587" cy="1008062"/>
          </a:xfrm>
          <a:prstGeom prst="can">
            <a:avLst>
              <a:gd name="adj" fmla="val 25000"/>
            </a:avLst>
          </a:pr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842,3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1" name="AutoShape 4"/>
          <p:cNvSpPr>
            <a:spLocks noChangeArrowheads="1"/>
          </p:cNvSpPr>
          <p:nvPr/>
        </p:nvSpPr>
        <p:spPr bwMode="auto">
          <a:xfrm>
            <a:off x="6429388" y="2571744"/>
            <a:ext cx="2160587" cy="1008062"/>
          </a:xfrm>
          <a:prstGeom prst="can">
            <a:avLst>
              <a:gd name="adj" fmla="val 25000"/>
            </a:avLst>
          </a:prstGeom>
          <a:solidFill>
            <a:schemeClr val="tx2">
              <a:lumMod val="60000"/>
              <a:lumOff val="40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850,4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2" name="AutoShape 4"/>
          <p:cNvSpPr>
            <a:spLocks noChangeArrowheads="1"/>
          </p:cNvSpPr>
          <p:nvPr/>
        </p:nvSpPr>
        <p:spPr bwMode="auto">
          <a:xfrm>
            <a:off x="6429388" y="3857628"/>
            <a:ext cx="2160587" cy="1008062"/>
          </a:xfrm>
          <a:prstGeom prst="can">
            <a:avLst>
              <a:gd name="adj" fmla="val 25000"/>
            </a:avLst>
          </a:prstGeom>
          <a:solidFill>
            <a:schemeClr val="accent6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400" b="1" dirty="0" smtClean="0">
                <a:latin typeface="Times New Roman" pitchFamily="18" charset="0"/>
              </a:rPr>
              <a:t>1 076,6</a:t>
            </a:r>
            <a:endParaRPr lang="ru-RU" sz="2400" b="1" dirty="0">
              <a:latin typeface="Times New Roman" pitchFamily="18" charset="0"/>
            </a:endParaRPr>
          </a:p>
        </p:txBody>
      </p:sp>
      <p:sp>
        <p:nvSpPr>
          <p:cNvPr id="23" name="AutoShape 12"/>
          <p:cNvSpPr>
            <a:spLocks noChangeArrowheads="1"/>
          </p:cNvSpPr>
          <p:nvPr/>
        </p:nvSpPr>
        <p:spPr bwMode="auto">
          <a:xfrm>
            <a:off x="4286248" y="2857496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24" name="AutoShape 12"/>
          <p:cNvSpPr>
            <a:spLocks noChangeArrowheads="1"/>
          </p:cNvSpPr>
          <p:nvPr/>
        </p:nvSpPr>
        <p:spPr bwMode="auto">
          <a:xfrm>
            <a:off x="4286248" y="4143380"/>
            <a:ext cx="2089150" cy="612775"/>
          </a:xfrm>
          <a:custGeom>
            <a:avLst/>
            <a:gdLst>
              <a:gd name="T0" fmla="*/ 1566862 w 21600"/>
              <a:gd name="T1" fmla="*/ 0 h 21600"/>
              <a:gd name="T2" fmla="*/ 0 w 21600"/>
              <a:gd name="T3" fmla="*/ 306388 h 21600"/>
              <a:gd name="T4" fmla="*/ 1566862 w 21600"/>
              <a:gd name="T5" fmla="*/ 612775 h 21600"/>
              <a:gd name="T6" fmla="*/ 2089150 w 21600"/>
              <a:gd name="T7" fmla="*/ 306388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close/>
              </a:path>
            </a:pathLst>
          </a:custGeom>
          <a:solidFill>
            <a:schemeClr val="accent6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ru-RU" dirty="0"/>
          </a:p>
        </p:txBody>
      </p:sp>
      <p:sp>
        <p:nvSpPr>
          <p:cNvPr id="25" name="Rectangle 15"/>
          <p:cNvSpPr>
            <a:spLocks noChangeArrowheads="1"/>
          </p:cNvSpPr>
          <p:nvPr/>
        </p:nvSpPr>
        <p:spPr bwMode="auto">
          <a:xfrm>
            <a:off x="4786314" y="3000372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000" b="1" dirty="0" smtClean="0"/>
              <a:t>47,4%</a:t>
            </a:r>
            <a:endParaRPr lang="ru-RU" sz="2000" b="1" dirty="0"/>
          </a:p>
        </p:txBody>
      </p:sp>
      <p:sp>
        <p:nvSpPr>
          <p:cNvPr id="26" name="Rectangle 15"/>
          <p:cNvSpPr>
            <a:spLocks noChangeArrowheads="1"/>
          </p:cNvSpPr>
          <p:nvPr/>
        </p:nvSpPr>
        <p:spPr bwMode="auto">
          <a:xfrm>
            <a:off x="4786314" y="4286256"/>
            <a:ext cx="828675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/>
            <a:r>
              <a:rPr lang="ru-RU" sz="2000" b="1" dirty="0" smtClean="0"/>
              <a:t>58,4%</a:t>
            </a:r>
            <a:endParaRPr lang="ru-RU" sz="2000" b="1" dirty="0"/>
          </a:p>
        </p:txBody>
      </p:sp>
      <p:pic>
        <p:nvPicPr>
          <p:cNvPr id="28" name="Picture 5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07504" y="188640"/>
            <a:ext cx="536685" cy="6480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3" name="Text Box 3"/>
          <p:cNvSpPr txBox="1">
            <a:spLocks noChangeArrowheads="1"/>
          </p:cNvSpPr>
          <p:nvPr/>
        </p:nvSpPr>
        <p:spPr bwMode="auto">
          <a:xfrm>
            <a:off x="344872" y="232527"/>
            <a:ext cx="8245103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УДЕЛЬНЫЙ ВЕС СОЦИАЛЬНО-ЗНАЧИМЫХ </a:t>
            </a:r>
          </a:p>
          <a:p>
            <a:pPr algn="ctr"/>
            <a:r>
              <a:rPr lang="ru-RU" alt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 РАСХОДОВ В ОБЩЕМ ОБЪЕМЕ РАСХОДОВ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104144" y="6255136"/>
            <a:ext cx="1725472" cy="416406"/>
          </a:xfrm>
          <a:prstGeom prst="homePlate">
            <a:avLst/>
          </a:prstGeom>
          <a:gradFill>
            <a:gsLst>
              <a:gs pos="0">
                <a:srgbClr val="00B050"/>
              </a:gs>
              <a:gs pos="80000">
                <a:schemeClr val="accent3">
                  <a:shade val="93000"/>
                  <a:satMod val="130000"/>
                </a:schemeClr>
              </a:gs>
              <a:gs pos="100000">
                <a:schemeClr val="accent3">
                  <a:shade val="94000"/>
                  <a:satMod val="135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8</a:t>
            </a:r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7755663" y="6293559"/>
            <a:ext cx="112646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bg1"/>
                </a:solidFill>
                <a:ea typeface="Cambria Math" pitchFamily="18" charset="0"/>
                <a:cs typeface="Times New Roman" pitchFamily="18" charset="0"/>
              </a:rPr>
              <a:t>млн. руб.</a:t>
            </a:r>
            <a:endParaRPr lang="ru-RU" b="1" dirty="0">
              <a:solidFill>
                <a:schemeClr val="bg1"/>
              </a:solidFill>
              <a:ea typeface="Cambria Math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626</TotalTime>
  <Words>973</Words>
  <Application>Microsoft Office PowerPoint</Application>
  <PresentationFormat>Экран (4:3)</PresentationFormat>
  <Paragraphs>340</Paragraphs>
  <Slides>21</Slides>
  <Notes>9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2" baseType="lpstr">
      <vt:lpstr>Тема Office</vt:lpstr>
      <vt:lpstr>Слайд 1</vt:lpstr>
      <vt:lpstr>Слайд 2</vt:lpstr>
      <vt:lpstr>Слайд 3</vt:lpstr>
      <vt:lpstr>  ДИНАМИКА ИСПОЛНЕНИЯ  ДОХОДОВ в 2018-2021  гг.  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КАССОВОЕ ИСПОЛНЕНИЕ И СТРУКТУРА ДОРОЖНОГО ФОНДА В 2021 ГОДУ</vt:lpstr>
      <vt:lpstr>Слайд 18</vt:lpstr>
      <vt:lpstr>Слайд 19</vt:lpstr>
      <vt:lpstr>Слайд 20</vt:lpstr>
      <vt:lpstr>Слайд 2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ТЧЕТ ОБ ИСПОЛНЕНИИ  БЮДЖЕТА ГОРОДА-КУРОРТА  ЖЕЛЕЗНОВОДСКА  СТАВРОПОЛЬСКОГО КРАЯ ЗА 2016 ГОД</dc:title>
  <dc:creator>ZhDoOV</dc:creator>
  <cp:lastModifiedBy>User3</cp:lastModifiedBy>
  <cp:revision>544</cp:revision>
  <dcterms:created xsi:type="dcterms:W3CDTF">2018-06-06T11:44:10Z</dcterms:created>
  <dcterms:modified xsi:type="dcterms:W3CDTF">2022-05-16T06:18:10Z</dcterms:modified>
</cp:coreProperties>
</file>